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22"/>
  </p:notesMasterIdLst>
  <p:handoutMasterIdLst>
    <p:handoutMasterId r:id="rId23"/>
  </p:handoutMasterIdLst>
  <p:sldIdLst>
    <p:sldId id="287" r:id="rId6"/>
    <p:sldId id="295" r:id="rId7"/>
    <p:sldId id="286" r:id="rId8"/>
    <p:sldId id="261" r:id="rId9"/>
    <p:sldId id="274" r:id="rId10"/>
    <p:sldId id="288" r:id="rId11"/>
    <p:sldId id="289" r:id="rId12"/>
    <p:sldId id="290" r:id="rId13"/>
    <p:sldId id="291" r:id="rId14"/>
    <p:sldId id="279" r:id="rId15"/>
    <p:sldId id="263" r:id="rId16"/>
    <p:sldId id="277" r:id="rId17"/>
    <p:sldId id="278" r:id="rId18"/>
    <p:sldId id="264" r:id="rId19"/>
    <p:sldId id="265" r:id="rId20"/>
    <p:sldId id="285" r:id="rId21"/>
  </p:sldIdLst>
  <p:sldSz cx="12192000" cy="6858000"/>
  <p:notesSz cx="6858000" cy="9144000"/>
  <p:custDataLst>
    <p:tags r:id="rId24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3D30734-CA57-4F86-BE77-4B5C01086BE2}" v="27" dt="2023-09-27T09:32:02.36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993" autoAdjust="0"/>
    <p:restoredTop sz="84392" autoAdjust="0"/>
  </p:normalViewPr>
  <p:slideViewPr>
    <p:cSldViewPr snapToGrid="0">
      <p:cViewPr varScale="1">
        <p:scale>
          <a:sx n="69" d="100"/>
          <a:sy n="69" d="100"/>
        </p:scale>
        <p:origin x="1066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iri Marie Aamodt" userId="91f91055-7576-44c0-87b5-30a6c57d9b33" providerId="ADAL" clId="{83D30734-CA57-4F86-BE77-4B5C01086BE2}"/>
    <pc:docChg chg="undo redo custSel addSld delSld modSld sldOrd">
      <pc:chgData name="Siri Marie Aamodt" userId="91f91055-7576-44c0-87b5-30a6c57d9b33" providerId="ADAL" clId="{83D30734-CA57-4F86-BE77-4B5C01086BE2}" dt="2023-09-27T11:37:12.071" v="124" actId="47"/>
      <pc:docMkLst>
        <pc:docMk/>
      </pc:docMkLst>
      <pc:sldChg chg="addSp delSp modSp">
        <pc:chgData name="Siri Marie Aamodt" userId="91f91055-7576-44c0-87b5-30a6c57d9b33" providerId="ADAL" clId="{83D30734-CA57-4F86-BE77-4B5C01086BE2}" dt="2023-09-27T09:28:13.854" v="98" actId="11529"/>
        <pc:sldMkLst>
          <pc:docMk/>
          <pc:sldMk cId="1205708441" sldId="261"/>
        </pc:sldMkLst>
        <pc:spChg chg="add del mod">
          <ac:chgData name="Siri Marie Aamodt" userId="91f91055-7576-44c0-87b5-30a6c57d9b33" providerId="ADAL" clId="{83D30734-CA57-4F86-BE77-4B5C01086BE2}" dt="2023-09-27T09:28:13.854" v="98" actId="11529"/>
          <ac:spMkLst>
            <pc:docMk/>
            <pc:sldMk cId="1205708441" sldId="261"/>
            <ac:spMk id="5" creationId="{4FA4AC77-1941-86E0-81C8-C6148DF4E615}"/>
          </ac:spMkLst>
        </pc:spChg>
        <pc:graphicFrameChg chg="add del">
          <ac:chgData name="Siri Marie Aamodt" userId="91f91055-7576-44c0-87b5-30a6c57d9b33" providerId="ADAL" clId="{83D30734-CA57-4F86-BE77-4B5C01086BE2}" dt="2023-09-27T09:28:13.854" v="98" actId="11529"/>
          <ac:graphicFrameMkLst>
            <pc:docMk/>
            <pc:sldMk cId="1205708441" sldId="261"/>
            <ac:graphicFrameMk id="12" creationId="{FD189413-58D6-466D-C710-D694B286DBD2}"/>
          </ac:graphicFrameMkLst>
        </pc:graphicFrameChg>
      </pc:sldChg>
      <pc:sldChg chg="del">
        <pc:chgData name="Siri Marie Aamodt" userId="91f91055-7576-44c0-87b5-30a6c57d9b33" providerId="ADAL" clId="{83D30734-CA57-4F86-BE77-4B5C01086BE2}" dt="2023-09-27T09:20:17.607" v="9" actId="47"/>
        <pc:sldMkLst>
          <pc:docMk/>
          <pc:sldMk cId="858122638" sldId="268"/>
        </pc:sldMkLst>
      </pc:sldChg>
      <pc:sldChg chg="del">
        <pc:chgData name="Siri Marie Aamodt" userId="91f91055-7576-44c0-87b5-30a6c57d9b33" providerId="ADAL" clId="{83D30734-CA57-4F86-BE77-4B5C01086BE2}" dt="2023-09-27T09:20:18.226" v="10" actId="47"/>
        <pc:sldMkLst>
          <pc:docMk/>
          <pc:sldMk cId="166714320" sldId="269"/>
        </pc:sldMkLst>
      </pc:sldChg>
      <pc:sldChg chg="del">
        <pc:chgData name="Siri Marie Aamodt" userId="91f91055-7576-44c0-87b5-30a6c57d9b33" providerId="ADAL" clId="{83D30734-CA57-4F86-BE77-4B5C01086BE2}" dt="2023-09-27T09:20:28.469" v="13" actId="47"/>
        <pc:sldMkLst>
          <pc:docMk/>
          <pc:sldMk cId="665462962" sldId="280"/>
        </pc:sldMkLst>
      </pc:sldChg>
      <pc:sldChg chg="del">
        <pc:chgData name="Siri Marie Aamodt" userId="91f91055-7576-44c0-87b5-30a6c57d9b33" providerId="ADAL" clId="{83D30734-CA57-4F86-BE77-4B5C01086BE2}" dt="2023-09-27T09:20:30.416" v="16" actId="47"/>
        <pc:sldMkLst>
          <pc:docMk/>
          <pc:sldMk cId="3885877842" sldId="281"/>
        </pc:sldMkLst>
      </pc:sldChg>
      <pc:sldChg chg="del">
        <pc:chgData name="Siri Marie Aamodt" userId="91f91055-7576-44c0-87b5-30a6c57d9b33" providerId="ADAL" clId="{83D30734-CA57-4F86-BE77-4B5C01086BE2}" dt="2023-09-27T09:20:09.574" v="7" actId="47"/>
        <pc:sldMkLst>
          <pc:docMk/>
          <pc:sldMk cId="49589065" sldId="283"/>
        </pc:sldMkLst>
      </pc:sldChg>
      <pc:sldChg chg="modSp mod">
        <pc:chgData name="Siri Marie Aamodt" userId="91f91055-7576-44c0-87b5-30a6c57d9b33" providerId="ADAL" clId="{83D30734-CA57-4F86-BE77-4B5C01086BE2}" dt="2023-09-27T09:21:00.294" v="56" actId="20577"/>
        <pc:sldMkLst>
          <pc:docMk/>
          <pc:sldMk cId="107847285" sldId="285"/>
        </pc:sldMkLst>
        <pc:spChg chg="mod">
          <ac:chgData name="Siri Marie Aamodt" userId="91f91055-7576-44c0-87b5-30a6c57d9b33" providerId="ADAL" clId="{83D30734-CA57-4F86-BE77-4B5C01086BE2}" dt="2023-09-27T09:21:00.294" v="56" actId="20577"/>
          <ac:spMkLst>
            <pc:docMk/>
            <pc:sldMk cId="107847285" sldId="285"/>
            <ac:spMk id="5" creationId="{D3617C4B-312D-6DE3-5FB1-37561B42F0FC}"/>
          </ac:spMkLst>
        </pc:spChg>
      </pc:sldChg>
      <pc:sldChg chg="modNotesTx">
        <pc:chgData name="Siri Marie Aamodt" userId="91f91055-7576-44c0-87b5-30a6c57d9b33" providerId="ADAL" clId="{83D30734-CA57-4F86-BE77-4B5C01086BE2}" dt="2023-09-27T09:25:57.917" v="96" actId="20577"/>
        <pc:sldMkLst>
          <pc:docMk/>
          <pc:sldMk cId="2028669391" sldId="295"/>
        </pc:sldMkLst>
      </pc:sldChg>
      <pc:sldChg chg="del ord">
        <pc:chgData name="Siri Marie Aamodt" userId="91f91055-7576-44c0-87b5-30a6c57d9b33" providerId="ADAL" clId="{83D30734-CA57-4F86-BE77-4B5C01086BE2}" dt="2023-09-27T09:19:45.692" v="2" actId="47"/>
        <pc:sldMkLst>
          <pc:docMk/>
          <pc:sldMk cId="1712096670" sldId="296"/>
        </pc:sldMkLst>
      </pc:sldChg>
      <pc:sldChg chg="new del">
        <pc:chgData name="Siri Marie Aamodt" userId="91f91055-7576-44c0-87b5-30a6c57d9b33" providerId="ADAL" clId="{83D30734-CA57-4F86-BE77-4B5C01086BE2}" dt="2023-09-27T09:22:50.267" v="58" actId="47"/>
        <pc:sldMkLst>
          <pc:docMk/>
          <pc:sldMk cId="2006007151" sldId="296"/>
        </pc:sldMkLst>
      </pc:sldChg>
      <pc:sldChg chg="addSp delSp modSp add del mod">
        <pc:chgData name="Siri Marie Aamodt" userId="91f91055-7576-44c0-87b5-30a6c57d9b33" providerId="ADAL" clId="{83D30734-CA57-4F86-BE77-4B5C01086BE2}" dt="2023-09-27T11:37:07.525" v="123" actId="47"/>
        <pc:sldMkLst>
          <pc:docMk/>
          <pc:sldMk cId="2707861763" sldId="296"/>
        </pc:sldMkLst>
        <pc:spChg chg="mod">
          <ac:chgData name="Siri Marie Aamodt" userId="91f91055-7576-44c0-87b5-30a6c57d9b33" providerId="ADAL" clId="{83D30734-CA57-4F86-BE77-4B5C01086BE2}" dt="2023-09-27T09:31:45.967" v="119" actId="18245"/>
          <ac:spMkLst>
            <pc:docMk/>
            <pc:sldMk cId="2707861763" sldId="296"/>
            <ac:spMk id="6" creationId="{99866B35-472A-3FAB-641D-23E011978FF7}"/>
          </ac:spMkLst>
        </pc:spChg>
        <pc:spChg chg="mod">
          <ac:chgData name="Siri Marie Aamodt" userId="91f91055-7576-44c0-87b5-30a6c57d9b33" providerId="ADAL" clId="{83D30734-CA57-4F86-BE77-4B5C01086BE2}" dt="2023-09-27T09:31:45.967" v="119" actId="18245"/>
          <ac:spMkLst>
            <pc:docMk/>
            <pc:sldMk cId="2707861763" sldId="296"/>
            <ac:spMk id="7" creationId="{4AFF2BAC-9FEA-510A-F199-6E62EBF6680F}"/>
          </ac:spMkLst>
        </pc:spChg>
        <pc:spChg chg="mod">
          <ac:chgData name="Siri Marie Aamodt" userId="91f91055-7576-44c0-87b5-30a6c57d9b33" providerId="ADAL" clId="{83D30734-CA57-4F86-BE77-4B5C01086BE2}" dt="2023-09-27T09:31:45.967" v="119" actId="18245"/>
          <ac:spMkLst>
            <pc:docMk/>
            <pc:sldMk cId="2707861763" sldId="296"/>
            <ac:spMk id="8" creationId="{920AF2C9-62F3-6277-B77C-CDCC5CF8E2C4}"/>
          </ac:spMkLst>
        </pc:spChg>
        <pc:spChg chg="mod">
          <ac:chgData name="Siri Marie Aamodt" userId="91f91055-7576-44c0-87b5-30a6c57d9b33" providerId="ADAL" clId="{83D30734-CA57-4F86-BE77-4B5C01086BE2}" dt="2023-09-27T09:31:45.967" v="119" actId="18245"/>
          <ac:spMkLst>
            <pc:docMk/>
            <pc:sldMk cId="2707861763" sldId="296"/>
            <ac:spMk id="9" creationId="{5FCD0F9B-7E19-6284-B5A0-B5831424FD23}"/>
          </ac:spMkLst>
        </pc:spChg>
        <pc:spChg chg="mod">
          <ac:chgData name="Siri Marie Aamodt" userId="91f91055-7576-44c0-87b5-30a6c57d9b33" providerId="ADAL" clId="{83D30734-CA57-4F86-BE77-4B5C01086BE2}" dt="2023-09-27T09:31:45.967" v="119" actId="18245"/>
          <ac:spMkLst>
            <pc:docMk/>
            <pc:sldMk cId="2707861763" sldId="296"/>
            <ac:spMk id="10" creationId="{E1CCACC7-17E1-DCB1-714D-4DA881A66077}"/>
          </ac:spMkLst>
        </pc:spChg>
        <pc:spChg chg="mod">
          <ac:chgData name="Siri Marie Aamodt" userId="91f91055-7576-44c0-87b5-30a6c57d9b33" providerId="ADAL" clId="{83D30734-CA57-4F86-BE77-4B5C01086BE2}" dt="2023-09-27T09:31:45.967" v="119" actId="18245"/>
          <ac:spMkLst>
            <pc:docMk/>
            <pc:sldMk cId="2707861763" sldId="296"/>
            <ac:spMk id="11" creationId="{CE4A99AE-3DBD-5490-49A9-0C6B04E98F04}"/>
          </ac:spMkLst>
        </pc:spChg>
        <pc:spChg chg="mod">
          <ac:chgData name="Siri Marie Aamodt" userId="91f91055-7576-44c0-87b5-30a6c57d9b33" providerId="ADAL" clId="{83D30734-CA57-4F86-BE77-4B5C01086BE2}" dt="2023-09-27T09:31:45.967" v="119" actId="18245"/>
          <ac:spMkLst>
            <pc:docMk/>
            <pc:sldMk cId="2707861763" sldId="296"/>
            <ac:spMk id="13" creationId="{BB540F0F-A35A-BF88-5249-563149EE9BDD}"/>
          </ac:spMkLst>
        </pc:spChg>
        <pc:spChg chg="mod">
          <ac:chgData name="Siri Marie Aamodt" userId="91f91055-7576-44c0-87b5-30a6c57d9b33" providerId="ADAL" clId="{83D30734-CA57-4F86-BE77-4B5C01086BE2}" dt="2023-09-27T09:31:45.967" v="119" actId="18245"/>
          <ac:spMkLst>
            <pc:docMk/>
            <pc:sldMk cId="2707861763" sldId="296"/>
            <ac:spMk id="14" creationId="{68E7EE3A-B623-D8D7-CBB4-4DEB1144C0FB}"/>
          </ac:spMkLst>
        </pc:spChg>
        <pc:spChg chg="mod">
          <ac:chgData name="Siri Marie Aamodt" userId="91f91055-7576-44c0-87b5-30a6c57d9b33" providerId="ADAL" clId="{83D30734-CA57-4F86-BE77-4B5C01086BE2}" dt="2023-09-27T09:31:45.967" v="119" actId="18245"/>
          <ac:spMkLst>
            <pc:docMk/>
            <pc:sldMk cId="2707861763" sldId="296"/>
            <ac:spMk id="15" creationId="{34C82924-6D0A-8FA7-6E3B-4ED658A3C368}"/>
          </ac:spMkLst>
        </pc:spChg>
        <pc:spChg chg="mod">
          <ac:chgData name="Siri Marie Aamodt" userId="91f91055-7576-44c0-87b5-30a6c57d9b33" providerId="ADAL" clId="{83D30734-CA57-4F86-BE77-4B5C01086BE2}" dt="2023-09-27T09:31:45.967" v="119" actId="18245"/>
          <ac:spMkLst>
            <pc:docMk/>
            <pc:sldMk cId="2707861763" sldId="296"/>
            <ac:spMk id="16" creationId="{1085C157-5743-6DBB-D773-02BAB57FB163}"/>
          </ac:spMkLst>
        </pc:spChg>
        <pc:spChg chg="mod">
          <ac:chgData name="Siri Marie Aamodt" userId="91f91055-7576-44c0-87b5-30a6c57d9b33" providerId="ADAL" clId="{83D30734-CA57-4F86-BE77-4B5C01086BE2}" dt="2023-09-27T09:31:45.967" v="119" actId="18245"/>
          <ac:spMkLst>
            <pc:docMk/>
            <pc:sldMk cId="2707861763" sldId="296"/>
            <ac:spMk id="17" creationId="{B671C0BD-B022-ECA1-ED04-F78C04B8E4EF}"/>
          </ac:spMkLst>
        </pc:spChg>
        <pc:spChg chg="mod">
          <ac:chgData name="Siri Marie Aamodt" userId="91f91055-7576-44c0-87b5-30a6c57d9b33" providerId="ADAL" clId="{83D30734-CA57-4F86-BE77-4B5C01086BE2}" dt="2023-09-27T09:31:45.967" v="119" actId="18245"/>
          <ac:spMkLst>
            <pc:docMk/>
            <pc:sldMk cId="2707861763" sldId="296"/>
            <ac:spMk id="18" creationId="{F3FACA07-0A5D-5D01-A930-D76C211C6BA5}"/>
          </ac:spMkLst>
        </pc:spChg>
        <pc:spChg chg="mod">
          <ac:chgData name="Siri Marie Aamodt" userId="91f91055-7576-44c0-87b5-30a6c57d9b33" providerId="ADAL" clId="{83D30734-CA57-4F86-BE77-4B5C01086BE2}" dt="2023-09-27T09:31:35.874" v="118" actId="18245"/>
          <ac:spMkLst>
            <pc:docMk/>
            <pc:sldMk cId="2707861763" sldId="296"/>
            <ac:spMk id="19" creationId="{B9E5E899-0E84-307D-67C3-5603813AD996}"/>
          </ac:spMkLst>
        </pc:spChg>
        <pc:spChg chg="add mod">
          <ac:chgData name="Siri Marie Aamodt" userId="91f91055-7576-44c0-87b5-30a6c57d9b33" providerId="ADAL" clId="{83D30734-CA57-4F86-BE77-4B5C01086BE2}" dt="2023-09-27T09:32:02.363" v="122" actId="20577"/>
          <ac:spMkLst>
            <pc:docMk/>
            <pc:sldMk cId="2707861763" sldId="296"/>
            <ac:spMk id="20" creationId="{C5E1E700-59C6-5EF4-2FEE-EBC39CC5234E}"/>
          </ac:spMkLst>
        </pc:spChg>
        <pc:grpChg chg="mod">
          <ac:chgData name="Siri Marie Aamodt" userId="91f91055-7576-44c0-87b5-30a6c57d9b33" providerId="ADAL" clId="{83D30734-CA57-4F86-BE77-4B5C01086BE2}" dt="2023-09-27T09:31:45.967" v="119" actId="18245"/>
          <ac:grpSpMkLst>
            <pc:docMk/>
            <pc:sldMk cId="2707861763" sldId="296"/>
            <ac:grpSpMk id="5" creationId="{FD4C8E51-982E-88CA-B56C-29D03AEAD93C}"/>
          </ac:grpSpMkLst>
        </pc:grpChg>
        <pc:graphicFrameChg chg="add del mod">
          <ac:chgData name="Siri Marie Aamodt" userId="91f91055-7576-44c0-87b5-30a6c57d9b33" providerId="ADAL" clId="{83D30734-CA57-4F86-BE77-4B5C01086BE2}" dt="2023-09-27T09:31:51.639" v="121" actId="11529"/>
          <ac:graphicFrameMkLst>
            <pc:docMk/>
            <pc:sldMk cId="2707861763" sldId="296"/>
            <ac:graphicFrameMk id="12" creationId="{FD189413-58D6-466D-C710-D694B286DBD2}"/>
          </ac:graphicFrameMkLst>
        </pc:graphicFrameChg>
      </pc:sldChg>
      <pc:sldChg chg="addSp delSp modSp new add del">
        <pc:chgData name="Siri Marie Aamodt" userId="91f91055-7576-44c0-87b5-30a6c57d9b33" providerId="ADAL" clId="{83D30734-CA57-4F86-BE77-4B5C01086BE2}" dt="2023-09-27T11:37:12.071" v="124" actId="47"/>
        <pc:sldMkLst>
          <pc:docMk/>
          <pc:sldMk cId="1936345954" sldId="297"/>
        </pc:sldMkLst>
        <pc:spChg chg="add del">
          <ac:chgData name="Siri Marie Aamodt" userId="91f91055-7576-44c0-87b5-30a6c57d9b33" providerId="ADAL" clId="{83D30734-CA57-4F86-BE77-4B5C01086BE2}" dt="2023-09-27T09:30:05.370" v="106"/>
          <ac:spMkLst>
            <pc:docMk/>
            <pc:sldMk cId="1936345954" sldId="297"/>
            <ac:spMk id="5" creationId="{0000451E-C297-4BCC-AF6E-4A5D8D3495C8}"/>
          </ac:spMkLst>
        </pc:spChg>
        <pc:graphicFrameChg chg="add del mod">
          <ac:chgData name="Siri Marie Aamodt" userId="91f91055-7576-44c0-87b5-30a6c57d9b33" providerId="ADAL" clId="{83D30734-CA57-4F86-BE77-4B5C01086BE2}" dt="2023-09-27T09:30:05.370" v="106"/>
          <ac:graphicFrameMkLst>
            <pc:docMk/>
            <pc:sldMk cId="1936345954" sldId="297"/>
            <ac:graphicFrameMk id="6" creationId="{D0B33752-4649-2E55-231D-FCC2D507B7B9}"/>
          </ac:graphicFrameMkLst>
        </pc:graphicFrameChg>
        <pc:graphicFrameChg chg="add mod">
          <ac:chgData name="Siri Marie Aamodt" userId="91f91055-7576-44c0-87b5-30a6c57d9b33" providerId="ADAL" clId="{83D30734-CA57-4F86-BE77-4B5C01086BE2}" dt="2023-09-27T09:30:59.389" v="117" actId="20577"/>
          <ac:graphicFrameMkLst>
            <pc:docMk/>
            <pc:sldMk cId="1936345954" sldId="297"/>
            <ac:graphicFrameMk id="7" creationId="{D9702729-DCA7-9F78-955D-DD19B10BECF5}"/>
          </ac:graphicFrameMkLst>
        </pc:graphicFrameChg>
      </pc:sldChg>
      <pc:sldChg chg="del">
        <pc:chgData name="Siri Marie Aamodt" userId="91f91055-7576-44c0-87b5-30a6c57d9b33" providerId="ADAL" clId="{83D30734-CA57-4F86-BE77-4B5C01086BE2}" dt="2023-09-27T09:20:23.932" v="12" actId="47"/>
        <pc:sldMkLst>
          <pc:docMk/>
          <pc:sldMk cId="4234033573" sldId="297"/>
        </pc:sldMkLst>
      </pc:sldChg>
      <pc:sldChg chg="del">
        <pc:chgData name="Siri Marie Aamodt" userId="91f91055-7576-44c0-87b5-30a6c57d9b33" providerId="ADAL" clId="{83D30734-CA57-4F86-BE77-4B5C01086BE2}" dt="2023-09-27T09:20:29.085" v="14" actId="47"/>
        <pc:sldMkLst>
          <pc:docMk/>
          <pc:sldMk cId="4022048929" sldId="298"/>
        </pc:sldMkLst>
      </pc:sldChg>
      <pc:sldChg chg="del">
        <pc:chgData name="Siri Marie Aamodt" userId="91f91055-7576-44c0-87b5-30a6c57d9b33" providerId="ADAL" clId="{83D30734-CA57-4F86-BE77-4B5C01086BE2}" dt="2023-09-27T09:20:29.676" v="15" actId="47"/>
        <pc:sldMkLst>
          <pc:docMk/>
          <pc:sldMk cId="231016621" sldId="299"/>
        </pc:sldMkLst>
      </pc:sldChg>
      <pc:sldChg chg="del">
        <pc:chgData name="Siri Marie Aamodt" userId="91f91055-7576-44c0-87b5-30a6c57d9b33" providerId="ADAL" clId="{83D30734-CA57-4F86-BE77-4B5C01086BE2}" dt="2023-09-27T09:19:50.197" v="3" actId="47"/>
        <pc:sldMkLst>
          <pc:docMk/>
          <pc:sldMk cId="2913914318" sldId="300"/>
        </pc:sldMkLst>
      </pc:sldChg>
      <pc:sldChg chg="del">
        <pc:chgData name="Siri Marie Aamodt" userId="91f91055-7576-44c0-87b5-30a6c57d9b33" providerId="ADAL" clId="{83D30734-CA57-4F86-BE77-4B5C01086BE2}" dt="2023-09-27T09:19:51.082" v="4" actId="47"/>
        <pc:sldMkLst>
          <pc:docMk/>
          <pc:sldMk cId="4116390488" sldId="301"/>
        </pc:sldMkLst>
      </pc:sldChg>
      <pc:sldChg chg="del">
        <pc:chgData name="Siri Marie Aamodt" userId="91f91055-7576-44c0-87b5-30a6c57d9b33" providerId="ADAL" clId="{83D30734-CA57-4F86-BE77-4B5C01086BE2}" dt="2023-09-27T09:19:53.064" v="5" actId="47"/>
        <pc:sldMkLst>
          <pc:docMk/>
          <pc:sldMk cId="2432029489" sldId="302"/>
        </pc:sldMkLst>
      </pc:sldChg>
      <pc:sldChg chg="del">
        <pc:chgData name="Siri Marie Aamodt" userId="91f91055-7576-44c0-87b5-30a6c57d9b33" providerId="ADAL" clId="{83D30734-CA57-4F86-BE77-4B5C01086BE2}" dt="2023-09-27T09:19:54.139" v="6" actId="47"/>
        <pc:sldMkLst>
          <pc:docMk/>
          <pc:sldMk cId="3667467857" sldId="303"/>
        </pc:sldMkLst>
      </pc:sldChg>
      <pc:sldChg chg="del">
        <pc:chgData name="Siri Marie Aamodt" userId="91f91055-7576-44c0-87b5-30a6c57d9b33" providerId="ADAL" clId="{83D30734-CA57-4F86-BE77-4B5C01086BE2}" dt="2023-09-27T09:19:37.864" v="0" actId="47"/>
        <pc:sldMkLst>
          <pc:docMk/>
          <pc:sldMk cId="1767063836" sldId="304"/>
        </pc:sldMkLst>
      </pc:sldChg>
      <pc:sldChg chg="del">
        <pc:chgData name="Siri Marie Aamodt" userId="91f91055-7576-44c0-87b5-30a6c57d9b33" providerId="ADAL" clId="{83D30734-CA57-4F86-BE77-4B5C01086BE2}" dt="2023-09-27T09:20:18.823" v="11" actId="47"/>
        <pc:sldMkLst>
          <pc:docMk/>
          <pc:sldMk cId="1622595449" sldId="305"/>
        </pc:sldMkLst>
      </pc:sldChg>
      <pc:sldChg chg="del">
        <pc:chgData name="Siri Marie Aamodt" userId="91f91055-7576-44c0-87b5-30a6c57d9b33" providerId="ADAL" clId="{83D30734-CA57-4F86-BE77-4B5C01086BE2}" dt="2023-09-27T09:20:13.927" v="8" actId="47"/>
        <pc:sldMkLst>
          <pc:docMk/>
          <pc:sldMk cId="803957321" sldId="306"/>
        </pc:sldMkLst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4FB8795-9D69-4E2E-897D-1FA9E38A7D33}" type="doc">
      <dgm:prSet loTypeId="urn:microsoft.com/office/officeart/2005/8/layout/hProcess11" loCatId="process" qsTypeId="urn:microsoft.com/office/officeart/2005/8/quickstyle/simple1" qsCatId="simple" csTypeId="urn:microsoft.com/office/officeart/2005/8/colors/accent3_2" csCatId="accent3" phldr="1"/>
      <dgm:spPr/>
      <dgm:t>
        <a:bodyPr/>
        <a:lstStyle/>
        <a:p>
          <a:endParaRPr lang="nb-NO"/>
        </a:p>
      </dgm:t>
    </dgm:pt>
    <dgm:pt modelId="{359F1A59-770A-4507-AF69-CE339EC5D52C}">
      <dgm:prSet phldrT="[Text]"/>
      <dgm:spPr/>
      <dgm:t>
        <a:bodyPr/>
        <a:lstStyle/>
        <a:p>
          <a:r>
            <a:rPr lang="nb-NO" dirty="0"/>
            <a:t>November 2022</a:t>
          </a:r>
        </a:p>
      </dgm:t>
    </dgm:pt>
    <dgm:pt modelId="{CC3F433A-6326-4B4B-A3F6-535942049A2C}" type="parTrans" cxnId="{0536E012-D587-4695-A46F-28E6DAEB694E}">
      <dgm:prSet/>
      <dgm:spPr/>
      <dgm:t>
        <a:bodyPr/>
        <a:lstStyle/>
        <a:p>
          <a:endParaRPr lang="nb-NO"/>
        </a:p>
      </dgm:t>
    </dgm:pt>
    <dgm:pt modelId="{E1C7B431-CF9D-473D-AB79-79A9F6CA64D0}" type="sibTrans" cxnId="{0536E012-D587-4695-A46F-28E6DAEB694E}">
      <dgm:prSet/>
      <dgm:spPr/>
      <dgm:t>
        <a:bodyPr/>
        <a:lstStyle/>
        <a:p>
          <a:endParaRPr lang="nb-NO"/>
        </a:p>
      </dgm:t>
    </dgm:pt>
    <dgm:pt modelId="{5B45A416-2C58-4953-B805-9B1EEBADDAE4}">
      <dgm:prSet phldrT="[Text]"/>
      <dgm:spPr/>
      <dgm:t>
        <a:bodyPr/>
        <a:lstStyle/>
        <a:p>
          <a:r>
            <a:rPr lang="nb-NO" dirty="0"/>
            <a:t>Chat GPT lanseres </a:t>
          </a:r>
        </a:p>
      </dgm:t>
    </dgm:pt>
    <dgm:pt modelId="{D86826DC-1641-49D5-9BD0-5F19F4120BA6}" type="parTrans" cxnId="{DC315315-A492-4906-BD5F-17C58B72A0E7}">
      <dgm:prSet/>
      <dgm:spPr/>
      <dgm:t>
        <a:bodyPr/>
        <a:lstStyle/>
        <a:p>
          <a:endParaRPr lang="nb-NO"/>
        </a:p>
      </dgm:t>
    </dgm:pt>
    <dgm:pt modelId="{EA752DA3-6BD4-4DF1-848E-AAEFBE4EE2FB}" type="sibTrans" cxnId="{DC315315-A492-4906-BD5F-17C58B72A0E7}">
      <dgm:prSet/>
      <dgm:spPr/>
      <dgm:t>
        <a:bodyPr/>
        <a:lstStyle/>
        <a:p>
          <a:endParaRPr lang="nb-NO"/>
        </a:p>
      </dgm:t>
    </dgm:pt>
    <dgm:pt modelId="{82D5E4D0-102B-42F3-9704-811EB5AEA0FC}">
      <dgm:prSet phldrT="[Text]"/>
      <dgm:spPr/>
      <dgm:t>
        <a:bodyPr/>
        <a:lstStyle/>
        <a:p>
          <a:r>
            <a:rPr lang="nb-NO" dirty="0"/>
            <a:t>Februar 2023</a:t>
          </a:r>
        </a:p>
      </dgm:t>
    </dgm:pt>
    <dgm:pt modelId="{44924F72-0273-4031-A1F2-575C34052568}" type="parTrans" cxnId="{8039DB8F-0BD8-47A4-B08F-18A57E4CA75A}">
      <dgm:prSet/>
      <dgm:spPr/>
      <dgm:t>
        <a:bodyPr/>
        <a:lstStyle/>
        <a:p>
          <a:endParaRPr lang="nb-NO"/>
        </a:p>
      </dgm:t>
    </dgm:pt>
    <dgm:pt modelId="{B6D6D010-095D-4961-9000-C2BF6953D339}" type="sibTrans" cxnId="{8039DB8F-0BD8-47A4-B08F-18A57E4CA75A}">
      <dgm:prSet/>
      <dgm:spPr/>
      <dgm:t>
        <a:bodyPr/>
        <a:lstStyle/>
        <a:p>
          <a:endParaRPr lang="nb-NO"/>
        </a:p>
      </dgm:t>
    </dgm:pt>
    <dgm:pt modelId="{2539F898-50A4-4B48-B975-BB1D8506C183}">
      <dgm:prSet phldrT="[Text]"/>
      <dgm:spPr/>
      <dgm:t>
        <a:bodyPr/>
        <a:lstStyle/>
        <a:p>
          <a:r>
            <a:rPr lang="nb-NO" dirty="0"/>
            <a:t>Internseminarer</a:t>
          </a:r>
        </a:p>
      </dgm:t>
    </dgm:pt>
    <dgm:pt modelId="{0A3C5753-9FAB-40A0-8EB2-9E93E12036E4}" type="parTrans" cxnId="{109F0BCC-CFF7-4DBA-A8A1-0C9A92A1276E}">
      <dgm:prSet/>
      <dgm:spPr/>
      <dgm:t>
        <a:bodyPr/>
        <a:lstStyle/>
        <a:p>
          <a:endParaRPr lang="nb-NO"/>
        </a:p>
      </dgm:t>
    </dgm:pt>
    <dgm:pt modelId="{3CAF5190-DD4A-4A88-88EB-C74C9CA42DE2}" type="sibTrans" cxnId="{109F0BCC-CFF7-4DBA-A8A1-0C9A92A1276E}">
      <dgm:prSet/>
      <dgm:spPr/>
      <dgm:t>
        <a:bodyPr/>
        <a:lstStyle/>
        <a:p>
          <a:endParaRPr lang="nb-NO"/>
        </a:p>
      </dgm:t>
    </dgm:pt>
    <dgm:pt modelId="{0C5C86AB-C688-4A7C-95C2-F6818A725D58}">
      <dgm:prSet phldrT="[Text]"/>
      <dgm:spPr/>
      <dgm:t>
        <a:bodyPr/>
        <a:lstStyle/>
        <a:p>
          <a:r>
            <a:rPr lang="nb-NO" b="1" dirty="0"/>
            <a:t>AI </a:t>
          </a:r>
          <a:r>
            <a:rPr lang="nb-NO" b="1" dirty="0" err="1"/>
            <a:t>Task</a:t>
          </a:r>
          <a:r>
            <a:rPr lang="nb-NO" b="1" dirty="0"/>
            <a:t> Force etableres</a:t>
          </a:r>
        </a:p>
      </dgm:t>
    </dgm:pt>
    <dgm:pt modelId="{010C1103-CB2F-44DE-8C53-61D32583324B}" type="parTrans" cxnId="{F19C6871-F507-4F01-BD3E-56048141A44F}">
      <dgm:prSet/>
      <dgm:spPr/>
      <dgm:t>
        <a:bodyPr/>
        <a:lstStyle/>
        <a:p>
          <a:endParaRPr lang="nb-NO"/>
        </a:p>
      </dgm:t>
    </dgm:pt>
    <dgm:pt modelId="{184C037C-FC72-43E5-AE98-D6D047EFB743}" type="sibTrans" cxnId="{F19C6871-F507-4F01-BD3E-56048141A44F}">
      <dgm:prSet/>
      <dgm:spPr/>
      <dgm:t>
        <a:bodyPr/>
        <a:lstStyle/>
        <a:p>
          <a:endParaRPr lang="nb-NO"/>
        </a:p>
      </dgm:t>
    </dgm:pt>
    <dgm:pt modelId="{2039A681-9A7E-4E49-B315-6222D8D39936}">
      <dgm:prSet phldrT="[Text]"/>
      <dgm:spPr/>
      <dgm:t>
        <a:bodyPr/>
        <a:lstStyle/>
        <a:p>
          <a:r>
            <a:rPr lang="nb-NO" dirty="0"/>
            <a:t>Mars 2023</a:t>
          </a:r>
        </a:p>
      </dgm:t>
    </dgm:pt>
    <dgm:pt modelId="{4A43C206-96DC-4BF3-B7BE-19C0BCC9FE4C}" type="parTrans" cxnId="{338EC810-CD1F-4EC6-9D31-5224C7466C52}">
      <dgm:prSet/>
      <dgm:spPr/>
      <dgm:t>
        <a:bodyPr/>
        <a:lstStyle/>
        <a:p>
          <a:endParaRPr lang="nb-NO"/>
        </a:p>
      </dgm:t>
    </dgm:pt>
    <dgm:pt modelId="{CE056E58-2E1D-49F0-82E9-5444D0674C97}" type="sibTrans" cxnId="{338EC810-CD1F-4EC6-9D31-5224C7466C52}">
      <dgm:prSet/>
      <dgm:spPr/>
      <dgm:t>
        <a:bodyPr/>
        <a:lstStyle/>
        <a:p>
          <a:endParaRPr lang="nb-NO"/>
        </a:p>
      </dgm:t>
    </dgm:pt>
    <dgm:pt modelId="{203E5A4A-3A18-4B48-B313-AD599C081D4D}">
      <dgm:prSet phldrT="[Text]"/>
      <dgm:spPr/>
      <dgm:t>
        <a:bodyPr/>
        <a:lstStyle/>
        <a:p>
          <a:r>
            <a:rPr lang="nb-NO" dirty="0"/>
            <a:t>Presisering av regelverk for fusk</a:t>
          </a:r>
        </a:p>
      </dgm:t>
    </dgm:pt>
    <dgm:pt modelId="{2EE2B317-1FB6-40E9-8BFD-DF3AECA8AE2E}" type="parTrans" cxnId="{926A7F03-D147-45AA-B897-023871421CC8}">
      <dgm:prSet/>
      <dgm:spPr/>
      <dgm:t>
        <a:bodyPr/>
        <a:lstStyle/>
        <a:p>
          <a:endParaRPr lang="nb-NO"/>
        </a:p>
      </dgm:t>
    </dgm:pt>
    <dgm:pt modelId="{3D0441F3-48DE-41FE-B3F9-8ED6F0FD3AE3}" type="sibTrans" cxnId="{926A7F03-D147-45AA-B897-023871421CC8}">
      <dgm:prSet/>
      <dgm:spPr/>
      <dgm:t>
        <a:bodyPr/>
        <a:lstStyle/>
        <a:p>
          <a:endParaRPr lang="nb-NO"/>
        </a:p>
      </dgm:t>
    </dgm:pt>
    <dgm:pt modelId="{632B65FE-FE9A-4E49-8306-DE1F53BEA7EF}">
      <dgm:prSet phldrT="[Text]"/>
      <dgm:spPr/>
      <dgm:t>
        <a:bodyPr/>
        <a:lstStyle/>
        <a:p>
          <a:r>
            <a:rPr lang="nb-NO" dirty="0"/>
            <a:t>April 2023</a:t>
          </a:r>
        </a:p>
      </dgm:t>
    </dgm:pt>
    <dgm:pt modelId="{6F5E55F2-A189-4AA5-9EB7-4435C047C076}" type="parTrans" cxnId="{C2C7FB49-9EFA-4AA0-A6E8-343A2A52B818}">
      <dgm:prSet/>
      <dgm:spPr/>
      <dgm:t>
        <a:bodyPr/>
        <a:lstStyle/>
        <a:p>
          <a:endParaRPr lang="nb-NO"/>
        </a:p>
      </dgm:t>
    </dgm:pt>
    <dgm:pt modelId="{74189B90-7ADC-47E9-B44D-B780A82074A6}" type="sibTrans" cxnId="{C2C7FB49-9EFA-4AA0-A6E8-343A2A52B818}">
      <dgm:prSet/>
      <dgm:spPr/>
      <dgm:t>
        <a:bodyPr/>
        <a:lstStyle/>
        <a:p>
          <a:endParaRPr lang="nb-NO"/>
        </a:p>
      </dgm:t>
    </dgm:pt>
    <dgm:pt modelId="{0567DF68-E1D0-4E00-A55A-9F0B48F1A1D3}">
      <dgm:prSet phldrT="[Text]"/>
      <dgm:spPr/>
      <dgm:t>
        <a:bodyPr/>
        <a:lstStyle/>
        <a:p>
          <a:r>
            <a:rPr lang="nb-NO" dirty="0"/>
            <a:t>Tillegg til sensorveiledning</a:t>
          </a:r>
        </a:p>
      </dgm:t>
    </dgm:pt>
    <dgm:pt modelId="{0FB3014E-0416-46D8-A2C6-CF16B9537C95}" type="parTrans" cxnId="{68A6A1AF-C72B-444B-B0F1-84FA69526B56}">
      <dgm:prSet/>
      <dgm:spPr/>
      <dgm:t>
        <a:bodyPr/>
        <a:lstStyle/>
        <a:p>
          <a:endParaRPr lang="nb-NO"/>
        </a:p>
      </dgm:t>
    </dgm:pt>
    <dgm:pt modelId="{9200876F-5E6D-4113-867F-F6AFC4D61CFE}" type="sibTrans" cxnId="{68A6A1AF-C72B-444B-B0F1-84FA69526B56}">
      <dgm:prSet/>
      <dgm:spPr/>
      <dgm:t>
        <a:bodyPr/>
        <a:lstStyle/>
        <a:p>
          <a:endParaRPr lang="nb-NO"/>
        </a:p>
      </dgm:t>
    </dgm:pt>
    <dgm:pt modelId="{B92B5F9A-A287-4DAE-937D-4BA199CD7D7A}">
      <dgm:prSet phldrT="[Text]"/>
      <dgm:spPr/>
      <dgm:t>
        <a:bodyPr/>
        <a:lstStyle/>
        <a:p>
          <a:r>
            <a:rPr lang="nb-NO" dirty="0"/>
            <a:t>Informasjon til studentene</a:t>
          </a:r>
        </a:p>
      </dgm:t>
    </dgm:pt>
    <dgm:pt modelId="{AE9D4BA8-CAAB-4FD4-8E0B-566E77E3C1D9}" type="parTrans" cxnId="{2287A969-074B-4214-BF22-012904F6A563}">
      <dgm:prSet/>
      <dgm:spPr/>
      <dgm:t>
        <a:bodyPr/>
        <a:lstStyle/>
        <a:p>
          <a:endParaRPr lang="nb-NO"/>
        </a:p>
      </dgm:t>
    </dgm:pt>
    <dgm:pt modelId="{B83EB04F-6A11-45A1-8666-432F73B2DFE9}" type="sibTrans" cxnId="{2287A969-074B-4214-BF22-012904F6A563}">
      <dgm:prSet/>
      <dgm:spPr/>
      <dgm:t>
        <a:bodyPr/>
        <a:lstStyle/>
        <a:p>
          <a:endParaRPr lang="nb-NO"/>
        </a:p>
      </dgm:t>
    </dgm:pt>
    <dgm:pt modelId="{3ED37F2D-A2C1-46E8-AE48-9E20C9C4DCFC}">
      <dgm:prSet phldrT="[Text]"/>
      <dgm:spPr/>
      <dgm:t>
        <a:bodyPr/>
        <a:lstStyle/>
        <a:p>
          <a:r>
            <a:rPr lang="nb-NO" dirty="0"/>
            <a:t>Mai/Juni 2023</a:t>
          </a:r>
        </a:p>
      </dgm:t>
    </dgm:pt>
    <dgm:pt modelId="{26FD5AA0-8D57-49F3-AEB9-577234C7B4DE}" type="parTrans" cxnId="{37BA2C97-74D6-4066-B0EF-7F5308BC2C23}">
      <dgm:prSet/>
      <dgm:spPr/>
      <dgm:t>
        <a:bodyPr/>
        <a:lstStyle/>
        <a:p>
          <a:endParaRPr lang="nb-NO"/>
        </a:p>
      </dgm:t>
    </dgm:pt>
    <dgm:pt modelId="{D1005368-C004-463C-9BCE-D29DE06EA8B7}" type="sibTrans" cxnId="{37BA2C97-74D6-4066-B0EF-7F5308BC2C23}">
      <dgm:prSet/>
      <dgm:spPr/>
      <dgm:t>
        <a:bodyPr/>
        <a:lstStyle/>
        <a:p>
          <a:endParaRPr lang="nb-NO"/>
        </a:p>
      </dgm:t>
    </dgm:pt>
    <dgm:pt modelId="{56544F34-8204-4558-B115-B07831B2167D}">
      <dgm:prSet phldrT="[Text]"/>
      <dgm:spPr/>
      <dgm:t>
        <a:bodyPr/>
        <a:lstStyle/>
        <a:p>
          <a:r>
            <a:rPr lang="nb-NO" dirty="0"/>
            <a:t>Tildeling av </a:t>
          </a:r>
          <a:r>
            <a:rPr lang="nb-NO" dirty="0" err="1"/>
            <a:t>såkormidler</a:t>
          </a:r>
          <a:r>
            <a:rPr lang="nb-NO" dirty="0"/>
            <a:t> til AI-prosjekter</a:t>
          </a:r>
        </a:p>
      </dgm:t>
    </dgm:pt>
    <dgm:pt modelId="{A7AB8E8F-CF16-4242-98BB-D167F3A07356}" type="parTrans" cxnId="{F93CF3E1-CAFA-44F5-927E-7A53D2C73210}">
      <dgm:prSet/>
      <dgm:spPr/>
      <dgm:t>
        <a:bodyPr/>
        <a:lstStyle/>
        <a:p>
          <a:endParaRPr lang="nb-NO"/>
        </a:p>
      </dgm:t>
    </dgm:pt>
    <dgm:pt modelId="{A4C1E52F-F19B-4938-8BC3-FA0328F593AC}" type="sibTrans" cxnId="{F93CF3E1-CAFA-44F5-927E-7A53D2C73210}">
      <dgm:prSet/>
      <dgm:spPr/>
      <dgm:t>
        <a:bodyPr/>
        <a:lstStyle/>
        <a:p>
          <a:endParaRPr lang="nb-NO"/>
        </a:p>
      </dgm:t>
    </dgm:pt>
    <dgm:pt modelId="{81169DDF-9EBE-4015-9E7C-5C7E12044A9C}">
      <dgm:prSet phldrT="[Text]"/>
      <dgm:spPr/>
      <dgm:t>
        <a:bodyPr/>
        <a:lstStyle/>
        <a:p>
          <a:r>
            <a:rPr lang="nb-NO" dirty="0"/>
            <a:t>Utdanningsledere blir gjort oppmerksomme</a:t>
          </a:r>
        </a:p>
      </dgm:t>
    </dgm:pt>
    <dgm:pt modelId="{E5BD2E21-FBB0-4C82-AB02-4AA1E9F34F47}" type="parTrans" cxnId="{40164422-40DE-4F44-B84D-C8277FEF0C26}">
      <dgm:prSet/>
      <dgm:spPr/>
      <dgm:t>
        <a:bodyPr/>
        <a:lstStyle/>
        <a:p>
          <a:endParaRPr lang="nb-NO"/>
        </a:p>
      </dgm:t>
    </dgm:pt>
    <dgm:pt modelId="{2D13B4A5-B317-44A5-B775-8F37CB2D1A9C}" type="sibTrans" cxnId="{40164422-40DE-4F44-B84D-C8277FEF0C26}">
      <dgm:prSet/>
      <dgm:spPr/>
      <dgm:t>
        <a:bodyPr/>
        <a:lstStyle/>
        <a:p>
          <a:endParaRPr lang="nb-NO"/>
        </a:p>
      </dgm:t>
    </dgm:pt>
    <dgm:pt modelId="{4B863DA1-92B8-4FBB-929C-A68916C751E8}">
      <dgm:prSet phldrT="[Text]"/>
      <dgm:spPr/>
      <dgm:t>
        <a:bodyPr/>
        <a:lstStyle/>
        <a:p>
          <a:r>
            <a:rPr lang="nb-NO" dirty="0"/>
            <a:t>Tilpassing av eksamensoppgaver</a:t>
          </a:r>
        </a:p>
      </dgm:t>
    </dgm:pt>
    <dgm:pt modelId="{E9262D81-EB8A-4F46-B099-D851D04B470A}" type="parTrans" cxnId="{D11B9A40-0E34-43E2-9365-F8D389F1E395}">
      <dgm:prSet/>
      <dgm:spPr/>
      <dgm:t>
        <a:bodyPr/>
        <a:lstStyle/>
        <a:p>
          <a:endParaRPr lang="nb-NO"/>
        </a:p>
      </dgm:t>
    </dgm:pt>
    <dgm:pt modelId="{A34CCEBF-5654-4BF6-A1FF-792D083415BC}" type="sibTrans" cxnId="{D11B9A40-0E34-43E2-9365-F8D389F1E395}">
      <dgm:prSet/>
      <dgm:spPr/>
      <dgm:t>
        <a:bodyPr/>
        <a:lstStyle/>
        <a:p>
          <a:endParaRPr lang="nb-NO"/>
        </a:p>
      </dgm:t>
    </dgm:pt>
    <dgm:pt modelId="{CB2576E1-DB6D-4E64-8CB1-5C03C5645D59}">
      <dgm:prSet phldrT="[Text]"/>
      <dgm:spPr/>
      <dgm:t>
        <a:bodyPr/>
        <a:lstStyle/>
        <a:p>
          <a:r>
            <a:rPr lang="nb-NO" dirty="0"/>
            <a:t>Planlegging av høstens emner</a:t>
          </a:r>
        </a:p>
      </dgm:t>
    </dgm:pt>
    <dgm:pt modelId="{E3D23828-3D4C-4086-8140-75F363586471}" type="parTrans" cxnId="{7EC15266-7CC8-4026-9729-45BB3EF63C89}">
      <dgm:prSet/>
      <dgm:spPr/>
      <dgm:t>
        <a:bodyPr/>
        <a:lstStyle/>
        <a:p>
          <a:endParaRPr lang="nb-NO"/>
        </a:p>
      </dgm:t>
    </dgm:pt>
    <dgm:pt modelId="{9FB55F51-9A18-433C-A7C5-4FA9A160845A}" type="sibTrans" cxnId="{7EC15266-7CC8-4026-9729-45BB3EF63C89}">
      <dgm:prSet/>
      <dgm:spPr/>
      <dgm:t>
        <a:bodyPr/>
        <a:lstStyle/>
        <a:p>
          <a:endParaRPr lang="nb-NO"/>
        </a:p>
      </dgm:t>
    </dgm:pt>
    <dgm:pt modelId="{B42E736B-A3E7-4242-AC58-95C478323EE6}">
      <dgm:prSet phldrT="[Text]"/>
      <dgm:spPr/>
      <dgm:t>
        <a:bodyPr/>
        <a:lstStyle/>
        <a:p>
          <a:r>
            <a:rPr lang="nb-NO" dirty="0"/>
            <a:t>Ressursside for undervisere/sensorer</a:t>
          </a:r>
        </a:p>
      </dgm:t>
    </dgm:pt>
    <dgm:pt modelId="{50E94287-1F9B-44E9-A94E-743711CA9873}" type="parTrans" cxnId="{1A877A35-1ABF-4024-98D0-CB4E4BAF19EE}">
      <dgm:prSet/>
      <dgm:spPr/>
      <dgm:t>
        <a:bodyPr/>
        <a:lstStyle/>
        <a:p>
          <a:endParaRPr lang="nb-NO"/>
        </a:p>
      </dgm:t>
    </dgm:pt>
    <dgm:pt modelId="{6A117BF4-2D47-401C-B213-220900CE4A67}" type="sibTrans" cxnId="{1A877A35-1ABF-4024-98D0-CB4E4BAF19EE}">
      <dgm:prSet/>
      <dgm:spPr/>
      <dgm:t>
        <a:bodyPr/>
        <a:lstStyle/>
        <a:p>
          <a:endParaRPr lang="nb-NO"/>
        </a:p>
      </dgm:t>
    </dgm:pt>
    <dgm:pt modelId="{8BDC7653-03FD-475C-8243-3D7F2F7DCFC6}">
      <dgm:prSet phldrT="[Text]"/>
      <dgm:spPr/>
      <dgm:t>
        <a:bodyPr/>
        <a:lstStyle/>
        <a:p>
          <a:r>
            <a:rPr lang="nb-NO" dirty="0"/>
            <a:t>Kurs for </a:t>
          </a:r>
          <a:r>
            <a:rPr lang="nb-NO" dirty="0" err="1"/>
            <a:t>emneansvarlige</a:t>
          </a:r>
          <a:r>
            <a:rPr lang="nb-NO" dirty="0"/>
            <a:t> og sensorer</a:t>
          </a:r>
        </a:p>
      </dgm:t>
    </dgm:pt>
    <dgm:pt modelId="{8473E4A2-145C-411A-802E-9F5ECF41E84A}" type="parTrans" cxnId="{1813BD41-48FC-427B-A90D-984ACF505FA2}">
      <dgm:prSet/>
      <dgm:spPr/>
      <dgm:t>
        <a:bodyPr/>
        <a:lstStyle/>
        <a:p>
          <a:endParaRPr lang="nb-NO"/>
        </a:p>
      </dgm:t>
    </dgm:pt>
    <dgm:pt modelId="{BA6915C7-84AF-4DED-B259-0EA37BC191DE}" type="sibTrans" cxnId="{1813BD41-48FC-427B-A90D-984ACF505FA2}">
      <dgm:prSet/>
      <dgm:spPr/>
      <dgm:t>
        <a:bodyPr/>
        <a:lstStyle/>
        <a:p>
          <a:endParaRPr lang="nb-NO"/>
        </a:p>
      </dgm:t>
    </dgm:pt>
    <dgm:pt modelId="{1BA45882-10A2-450D-9B3D-73335D1962EB}">
      <dgm:prSet phldrT="[Text]"/>
      <dgm:spPr/>
      <dgm:t>
        <a:bodyPr/>
        <a:lstStyle/>
        <a:p>
          <a:r>
            <a:rPr lang="nb-NO" dirty="0"/>
            <a:t>Kartlegging av bruk av AI i utdanning ved fakultetet</a:t>
          </a:r>
        </a:p>
      </dgm:t>
    </dgm:pt>
    <dgm:pt modelId="{80AFD789-1A89-417A-AF53-A9D163859EBB}" type="parTrans" cxnId="{5C21293E-2C82-48DE-80E5-A3259575512D}">
      <dgm:prSet/>
      <dgm:spPr/>
      <dgm:t>
        <a:bodyPr/>
        <a:lstStyle/>
        <a:p>
          <a:endParaRPr lang="nb-NO"/>
        </a:p>
      </dgm:t>
    </dgm:pt>
    <dgm:pt modelId="{CF11117D-A8F8-4451-B810-E413A3185471}" type="sibTrans" cxnId="{5C21293E-2C82-48DE-80E5-A3259575512D}">
      <dgm:prSet/>
      <dgm:spPr/>
      <dgm:t>
        <a:bodyPr/>
        <a:lstStyle/>
        <a:p>
          <a:endParaRPr lang="nb-NO"/>
        </a:p>
      </dgm:t>
    </dgm:pt>
    <dgm:pt modelId="{D1D5A5EF-A1E8-4098-B2F7-C04E19EA8ADD}">
      <dgm:prSet/>
      <dgm:spPr/>
      <dgm:t>
        <a:bodyPr/>
        <a:lstStyle/>
        <a:p>
          <a:pPr algn="l"/>
          <a:r>
            <a:rPr lang="nb-NO" dirty="0"/>
            <a:t>September 2023</a:t>
          </a:r>
        </a:p>
        <a:p>
          <a:pPr algn="l"/>
          <a:r>
            <a:rPr lang="nb-NO" dirty="0"/>
            <a:t>Juridisk handlingsrom?</a:t>
          </a:r>
        </a:p>
        <a:p>
          <a:pPr algn="l"/>
          <a:r>
            <a:rPr lang="nb-NO" dirty="0"/>
            <a:t>Etikk?</a:t>
          </a:r>
        </a:p>
        <a:p>
          <a:pPr algn="l"/>
          <a:r>
            <a:rPr lang="nb-NO" dirty="0"/>
            <a:t>Hvordan brukes AI i undervisning i dag?</a:t>
          </a:r>
        </a:p>
        <a:p>
          <a:pPr algn="l"/>
          <a:r>
            <a:rPr lang="nb-NO" dirty="0"/>
            <a:t>Hvilken plass skal AI ha?</a:t>
          </a:r>
        </a:p>
        <a:p>
          <a:pPr algn="l"/>
          <a:r>
            <a:rPr lang="nb-NO" dirty="0"/>
            <a:t>Hvilke problemstillinger møter vi? </a:t>
          </a:r>
        </a:p>
      </dgm:t>
    </dgm:pt>
    <dgm:pt modelId="{9D9A7D4E-F62B-4B59-9EE9-CB1B92F9F2BA}" type="parTrans" cxnId="{BE5633FC-A5A5-4528-BAEE-927B7088FC16}">
      <dgm:prSet/>
      <dgm:spPr/>
      <dgm:t>
        <a:bodyPr/>
        <a:lstStyle/>
        <a:p>
          <a:endParaRPr lang="nb-NO"/>
        </a:p>
      </dgm:t>
    </dgm:pt>
    <dgm:pt modelId="{DAF42A7E-121C-492C-B9AE-BB22A40B0042}" type="sibTrans" cxnId="{BE5633FC-A5A5-4528-BAEE-927B7088FC16}">
      <dgm:prSet/>
      <dgm:spPr/>
      <dgm:t>
        <a:bodyPr/>
        <a:lstStyle/>
        <a:p>
          <a:endParaRPr lang="nb-NO"/>
        </a:p>
      </dgm:t>
    </dgm:pt>
    <dgm:pt modelId="{21B74667-C2EE-48A0-A6A0-8EA75EB36583}">
      <dgm:prSet phldrT="[Text]"/>
      <dgm:spPr/>
      <dgm:t>
        <a:bodyPr/>
        <a:lstStyle/>
        <a:p>
          <a:r>
            <a:rPr lang="nb-NO" dirty="0"/>
            <a:t>Juridisk handlingsrom?</a:t>
          </a:r>
        </a:p>
      </dgm:t>
    </dgm:pt>
    <dgm:pt modelId="{6AA4CA1B-216B-4643-BD1F-F30512890C48}" type="sibTrans" cxnId="{32FF2170-9EE2-41CC-9C55-6DDC2754FC6B}">
      <dgm:prSet/>
      <dgm:spPr/>
      <dgm:t>
        <a:bodyPr/>
        <a:lstStyle/>
        <a:p>
          <a:endParaRPr lang="nb-NO"/>
        </a:p>
      </dgm:t>
    </dgm:pt>
    <dgm:pt modelId="{81A1ED39-D2D9-4580-8B21-4F7D50EDF4CA}" type="parTrans" cxnId="{32FF2170-9EE2-41CC-9C55-6DDC2754FC6B}">
      <dgm:prSet/>
      <dgm:spPr/>
      <dgm:t>
        <a:bodyPr/>
        <a:lstStyle/>
        <a:p>
          <a:endParaRPr lang="nb-NO"/>
        </a:p>
      </dgm:t>
    </dgm:pt>
    <dgm:pt modelId="{A497DE6F-0623-4ECA-A991-41076F8F6BC0}">
      <dgm:prSet phldrT="[Text]"/>
      <dgm:spPr/>
      <dgm:t>
        <a:bodyPr/>
        <a:lstStyle/>
        <a:p>
          <a:r>
            <a:rPr lang="nb-NO" dirty="0"/>
            <a:t>Etikk?</a:t>
          </a:r>
        </a:p>
      </dgm:t>
    </dgm:pt>
    <dgm:pt modelId="{31F6F310-C3B5-44B4-A576-7D182F675344}" type="sibTrans" cxnId="{F8B089C7-618E-44CC-8EA8-7B05C671A255}">
      <dgm:prSet/>
      <dgm:spPr/>
      <dgm:t>
        <a:bodyPr/>
        <a:lstStyle/>
        <a:p>
          <a:endParaRPr lang="nb-NO"/>
        </a:p>
      </dgm:t>
    </dgm:pt>
    <dgm:pt modelId="{7A02AF44-C812-4B7F-B572-AD249F06734E}" type="parTrans" cxnId="{F8B089C7-618E-44CC-8EA8-7B05C671A255}">
      <dgm:prSet/>
      <dgm:spPr/>
      <dgm:t>
        <a:bodyPr/>
        <a:lstStyle/>
        <a:p>
          <a:endParaRPr lang="nb-NO"/>
        </a:p>
      </dgm:t>
    </dgm:pt>
    <dgm:pt modelId="{40EF8B0B-F56B-453F-8A83-1A45063A1AA1}">
      <dgm:prSet phldrT="[Text]"/>
      <dgm:spPr/>
      <dgm:t>
        <a:bodyPr/>
        <a:lstStyle/>
        <a:p>
          <a:r>
            <a:rPr lang="nb-NO" dirty="0"/>
            <a:t>Hvordan brukes AI i undervisning i dag?</a:t>
          </a:r>
        </a:p>
      </dgm:t>
    </dgm:pt>
    <dgm:pt modelId="{9F79DB9A-2C5E-4E34-B425-39F5BE5F7D4A}" type="sibTrans" cxnId="{6244464A-44AF-4ECF-B400-C05F0CEF1AD7}">
      <dgm:prSet/>
      <dgm:spPr/>
      <dgm:t>
        <a:bodyPr/>
        <a:lstStyle/>
        <a:p>
          <a:endParaRPr lang="nb-NO"/>
        </a:p>
      </dgm:t>
    </dgm:pt>
    <dgm:pt modelId="{1A248352-84A2-4550-90A1-EE4D72452F2C}" type="parTrans" cxnId="{6244464A-44AF-4ECF-B400-C05F0CEF1AD7}">
      <dgm:prSet/>
      <dgm:spPr/>
      <dgm:t>
        <a:bodyPr/>
        <a:lstStyle/>
        <a:p>
          <a:endParaRPr lang="nb-NO"/>
        </a:p>
      </dgm:t>
    </dgm:pt>
    <dgm:pt modelId="{C2FA3F31-81F2-477B-9921-315970FE0E09}">
      <dgm:prSet phldrT="[Text]"/>
      <dgm:spPr/>
      <dgm:t>
        <a:bodyPr/>
        <a:lstStyle/>
        <a:p>
          <a:r>
            <a:rPr lang="nb-NO" dirty="0"/>
            <a:t>Hvilken plass skal AI ha?</a:t>
          </a:r>
        </a:p>
      </dgm:t>
    </dgm:pt>
    <dgm:pt modelId="{4DB30B3C-2F06-4602-BEBE-F62C012B1069}" type="sibTrans" cxnId="{EF49C57D-0A2F-4C6F-B4E5-0DC641D3C5DE}">
      <dgm:prSet/>
      <dgm:spPr/>
      <dgm:t>
        <a:bodyPr/>
        <a:lstStyle/>
        <a:p>
          <a:endParaRPr lang="nb-NO"/>
        </a:p>
      </dgm:t>
    </dgm:pt>
    <dgm:pt modelId="{DA4CEE41-EC6C-459D-B0BB-518CE1B1A99B}" type="parTrans" cxnId="{EF49C57D-0A2F-4C6F-B4E5-0DC641D3C5DE}">
      <dgm:prSet/>
      <dgm:spPr/>
      <dgm:t>
        <a:bodyPr/>
        <a:lstStyle/>
        <a:p>
          <a:endParaRPr lang="nb-NO"/>
        </a:p>
      </dgm:t>
    </dgm:pt>
    <dgm:pt modelId="{68F342F0-38E1-421B-B89F-8CF8BE85824C}">
      <dgm:prSet phldrT="[Text]"/>
      <dgm:spPr/>
      <dgm:t>
        <a:bodyPr/>
        <a:lstStyle/>
        <a:p>
          <a:r>
            <a:rPr lang="nb-NO" dirty="0"/>
            <a:t>Hvilke problemstillinger møter vi? </a:t>
          </a:r>
        </a:p>
      </dgm:t>
    </dgm:pt>
    <dgm:pt modelId="{95B946B2-F2A7-4A51-98CF-C99126CB8ABD}" type="sibTrans" cxnId="{B820B910-365B-415B-AC14-DB065FFAFB77}">
      <dgm:prSet/>
      <dgm:spPr/>
      <dgm:t>
        <a:bodyPr/>
        <a:lstStyle/>
        <a:p>
          <a:endParaRPr lang="nb-NO"/>
        </a:p>
      </dgm:t>
    </dgm:pt>
    <dgm:pt modelId="{27BADC02-93EB-4035-BFFF-29F29349FD07}" type="parTrans" cxnId="{B820B910-365B-415B-AC14-DB065FFAFB77}">
      <dgm:prSet/>
      <dgm:spPr/>
      <dgm:t>
        <a:bodyPr/>
        <a:lstStyle/>
        <a:p>
          <a:endParaRPr lang="nb-NO"/>
        </a:p>
      </dgm:t>
    </dgm:pt>
    <dgm:pt modelId="{F45489CC-2236-41DF-8E71-7BBF9EF94E90}" type="pres">
      <dgm:prSet presAssocID="{B4FB8795-9D69-4E2E-897D-1FA9E38A7D33}" presName="Name0" presStyleCnt="0">
        <dgm:presLayoutVars>
          <dgm:dir/>
          <dgm:resizeHandles val="exact"/>
        </dgm:presLayoutVars>
      </dgm:prSet>
      <dgm:spPr/>
    </dgm:pt>
    <dgm:pt modelId="{AEDFB406-86CE-4195-9EA9-450E768581D5}" type="pres">
      <dgm:prSet presAssocID="{B4FB8795-9D69-4E2E-897D-1FA9E38A7D33}" presName="arrow" presStyleLbl="bgShp" presStyleIdx="0" presStyleCnt="1"/>
      <dgm:spPr/>
    </dgm:pt>
    <dgm:pt modelId="{31CA7B8E-2820-4BC8-BED8-2FF9FC8B4397}" type="pres">
      <dgm:prSet presAssocID="{B4FB8795-9D69-4E2E-897D-1FA9E38A7D33}" presName="points" presStyleCnt="0"/>
      <dgm:spPr/>
    </dgm:pt>
    <dgm:pt modelId="{EDC32A0B-8B03-4825-A87B-0ECEB9216506}" type="pres">
      <dgm:prSet presAssocID="{359F1A59-770A-4507-AF69-CE339EC5D52C}" presName="compositeA" presStyleCnt="0"/>
      <dgm:spPr/>
    </dgm:pt>
    <dgm:pt modelId="{121C82D5-9D1D-4DAC-A768-CC6AF5B958B7}" type="pres">
      <dgm:prSet presAssocID="{359F1A59-770A-4507-AF69-CE339EC5D52C}" presName="textA" presStyleLbl="revTx" presStyleIdx="0" presStyleCnt="6">
        <dgm:presLayoutVars>
          <dgm:bulletEnabled val="1"/>
        </dgm:presLayoutVars>
      </dgm:prSet>
      <dgm:spPr/>
    </dgm:pt>
    <dgm:pt modelId="{D30DE9C7-C8B1-4D4A-B18B-113EF440880A}" type="pres">
      <dgm:prSet presAssocID="{359F1A59-770A-4507-AF69-CE339EC5D52C}" presName="circleA" presStyleLbl="node1" presStyleIdx="0" presStyleCnt="6"/>
      <dgm:spPr/>
    </dgm:pt>
    <dgm:pt modelId="{2A1AD04C-630D-458B-B455-033531A95593}" type="pres">
      <dgm:prSet presAssocID="{359F1A59-770A-4507-AF69-CE339EC5D52C}" presName="spaceA" presStyleCnt="0"/>
      <dgm:spPr/>
    </dgm:pt>
    <dgm:pt modelId="{8000A304-64F2-4152-918E-ADA6E92B46D6}" type="pres">
      <dgm:prSet presAssocID="{E1C7B431-CF9D-473D-AB79-79A9F6CA64D0}" presName="space" presStyleCnt="0"/>
      <dgm:spPr/>
    </dgm:pt>
    <dgm:pt modelId="{44E64E66-40FF-4E8D-99E9-B8AE71310C5F}" type="pres">
      <dgm:prSet presAssocID="{82D5E4D0-102B-42F3-9704-811EB5AEA0FC}" presName="compositeB" presStyleCnt="0"/>
      <dgm:spPr/>
    </dgm:pt>
    <dgm:pt modelId="{4F6DC08A-8681-463B-B185-FEB97D9C5904}" type="pres">
      <dgm:prSet presAssocID="{82D5E4D0-102B-42F3-9704-811EB5AEA0FC}" presName="textB" presStyleLbl="revTx" presStyleIdx="1" presStyleCnt="6" custScaleX="118199">
        <dgm:presLayoutVars>
          <dgm:bulletEnabled val="1"/>
        </dgm:presLayoutVars>
      </dgm:prSet>
      <dgm:spPr/>
    </dgm:pt>
    <dgm:pt modelId="{1A862AEE-22B0-4B39-BC4D-A2F8520EB83B}" type="pres">
      <dgm:prSet presAssocID="{82D5E4D0-102B-42F3-9704-811EB5AEA0FC}" presName="circleB" presStyleLbl="node1" presStyleIdx="1" presStyleCnt="6"/>
      <dgm:spPr/>
    </dgm:pt>
    <dgm:pt modelId="{F945383F-08A6-489E-A55D-28A67E566F99}" type="pres">
      <dgm:prSet presAssocID="{82D5E4D0-102B-42F3-9704-811EB5AEA0FC}" presName="spaceB" presStyleCnt="0"/>
      <dgm:spPr/>
    </dgm:pt>
    <dgm:pt modelId="{B33AEA9F-54E1-4DB9-A91B-4CEF78C56831}" type="pres">
      <dgm:prSet presAssocID="{B6D6D010-095D-4961-9000-C2BF6953D339}" presName="space" presStyleCnt="0"/>
      <dgm:spPr/>
    </dgm:pt>
    <dgm:pt modelId="{01E7D6B2-0405-43A5-9D69-78AB357BE588}" type="pres">
      <dgm:prSet presAssocID="{2039A681-9A7E-4E49-B315-6222D8D39936}" presName="compositeA" presStyleCnt="0"/>
      <dgm:spPr/>
    </dgm:pt>
    <dgm:pt modelId="{51B523C7-AA0D-41BA-BBEA-A2AF2397484F}" type="pres">
      <dgm:prSet presAssocID="{2039A681-9A7E-4E49-B315-6222D8D39936}" presName="textA" presStyleLbl="revTx" presStyleIdx="2" presStyleCnt="6" custScaleX="134971">
        <dgm:presLayoutVars>
          <dgm:bulletEnabled val="1"/>
        </dgm:presLayoutVars>
      </dgm:prSet>
      <dgm:spPr/>
    </dgm:pt>
    <dgm:pt modelId="{96E4CE1A-1CE9-4AFA-BC05-D711FA6F6474}" type="pres">
      <dgm:prSet presAssocID="{2039A681-9A7E-4E49-B315-6222D8D39936}" presName="circleA" presStyleLbl="node1" presStyleIdx="2" presStyleCnt="6"/>
      <dgm:spPr/>
    </dgm:pt>
    <dgm:pt modelId="{303F8138-7621-4432-AD1F-4C9F03098378}" type="pres">
      <dgm:prSet presAssocID="{2039A681-9A7E-4E49-B315-6222D8D39936}" presName="spaceA" presStyleCnt="0"/>
      <dgm:spPr/>
    </dgm:pt>
    <dgm:pt modelId="{98B77170-DDAA-45E9-B106-396CDD68F317}" type="pres">
      <dgm:prSet presAssocID="{CE056E58-2E1D-49F0-82E9-5444D0674C97}" presName="space" presStyleCnt="0"/>
      <dgm:spPr/>
    </dgm:pt>
    <dgm:pt modelId="{9AC68EFA-F352-4F63-BC9D-40EB75BED463}" type="pres">
      <dgm:prSet presAssocID="{632B65FE-FE9A-4E49-8306-DE1F53BEA7EF}" presName="compositeB" presStyleCnt="0"/>
      <dgm:spPr/>
    </dgm:pt>
    <dgm:pt modelId="{4EFC92AA-C863-47F5-8221-722AAD244380}" type="pres">
      <dgm:prSet presAssocID="{632B65FE-FE9A-4E49-8306-DE1F53BEA7EF}" presName="textB" presStyleLbl="revTx" presStyleIdx="3" presStyleCnt="6" custScaleX="123636">
        <dgm:presLayoutVars>
          <dgm:bulletEnabled val="1"/>
        </dgm:presLayoutVars>
      </dgm:prSet>
      <dgm:spPr/>
    </dgm:pt>
    <dgm:pt modelId="{F222634A-6800-443E-A07A-27B8D78F28D6}" type="pres">
      <dgm:prSet presAssocID="{632B65FE-FE9A-4E49-8306-DE1F53BEA7EF}" presName="circleB" presStyleLbl="node1" presStyleIdx="3" presStyleCnt="6"/>
      <dgm:spPr/>
    </dgm:pt>
    <dgm:pt modelId="{361859DD-AE69-4E8D-BBDD-A248E1AF2AB7}" type="pres">
      <dgm:prSet presAssocID="{632B65FE-FE9A-4E49-8306-DE1F53BEA7EF}" presName="spaceB" presStyleCnt="0"/>
      <dgm:spPr/>
    </dgm:pt>
    <dgm:pt modelId="{13968A48-154B-427F-A80F-D4DE2E9A17B1}" type="pres">
      <dgm:prSet presAssocID="{74189B90-7ADC-47E9-B44D-B780A82074A6}" presName="space" presStyleCnt="0"/>
      <dgm:spPr/>
    </dgm:pt>
    <dgm:pt modelId="{381654CA-1BDF-47EB-98BE-A5CF15FD7D79}" type="pres">
      <dgm:prSet presAssocID="{3ED37F2D-A2C1-46E8-AE48-9E20C9C4DCFC}" presName="compositeA" presStyleCnt="0"/>
      <dgm:spPr/>
    </dgm:pt>
    <dgm:pt modelId="{12D4E075-D9D0-44F1-8DA9-A822824B47CF}" type="pres">
      <dgm:prSet presAssocID="{3ED37F2D-A2C1-46E8-AE48-9E20C9C4DCFC}" presName="textA" presStyleLbl="revTx" presStyleIdx="4" presStyleCnt="6" custScaleX="142431">
        <dgm:presLayoutVars>
          <dgm:bulletEnabled val="1"/>
        </dgm:presLayoutVars>
      </dgm:prSet>
      <dgm:spPr/>
    </dgm:pt>
    <dgm:pt modelId="{1142F26E-0F6F-4BF0-BCBC-B9C56D456B4D}" type="pres">
      <dgm:prSet presAssocID="{3ED37F2D-A2C1-46E8-AE48-9E20C9C4DCFC}" presName="circleA" presStyleLbl="node1" presStyleIdx="4" presStyleCnt="6"/>
      <dgm:spPr/>
    </dgm:pt>
    <dgm:pt modelId="{A1867307-460B-434A-8D2C-920273D2FED5}" type="pres">
      <dgm:prSet presAssocID="{3ED37F2D-A2C1-46E8-AE48-9E20C9C4DCFC}" presName="spaceA" presStyleCnt="0"/>
      <dgm:spPr/>
    </dgm:pt>
    <dgm:pt modelId="{944DF295-AEA8-4C83-B8A6-87FDCBFDA79B}" type="pres">
      <dgm:prSet presAssocID="{D1005368-C004-463C-9BCE-D29DE06EA8B7}" presName="space" presStyleCnt="0"/>
      <dgm:spPr/>
    </dgm:pt>
    <dgm:pt modelId="{2B84307F-DDB0-4FAD-996C-2E7041B8B591}" type="pres">
      <dgm:prSet presAssocID="{D1D5A5EF-A1E8-4098-B2F7-C04E19EA8ADD}" presName="compositeB" presStyleCnt="0"/>
      <dgm:spPr/>
    </dgm:pt>
    <dgm:pt modelId="{FFE50A5D-7559-4E61-B688-E2D58CCDE279}" type="pres">
      <dgm:prSet presAssocID="{D1D5A5EF-A1E8-4098-B2F7-C04E19EA8ADD}" presName="textB" presStyleLbl="revTx" presStyleIdx="5" presStyleCnt="6">
        <dgm:presLayoutVars>
          <dgm:bulletEnabled val="1"/>
        </dgm:presLayoutVars>
      </dgm:prSet>
      <dgm:spPr/>
    </dgm:pt>
    <dgm:pt modelId="{924ED990-BB0C-42E0-8039-EAF709F13CF3}" type="pres">
      <dgm:prSet presAssocID="{D1D5A5EF-A1E8-4098-B2F7-C04E19EA8ADD}" presName="circleB" presStyleLbl="node1" presStyleIdx="5" presStyleCnt="6"/>
      <dgm:spPr/>
    </dgm:pt>
    <dgm:pt modelId="{687046D0-3642-409F-834C-04076363F89B}" type="pres">
      <dgm:prSet presAssocID="{D1D5A5EF-A1E8-4098-B2F7-C04E19EA8ADD}" presName="spaceB" presStyleCnt="0"/>
      <dgm:spPr/>
    </dgm:pt>
  </dgm:ptLst>
  <dgm:cxnLst>
    <dgm:cxn modelId="{926A7F03-D147-45AA-B897-023871421CC8}" srcId="{2039A681-9A7E-4E49-B315-6222D8D39936}" destId="{203E5A4A-3A18-4B48-B313-AD599C081D4D}" srcOrd="0" destOrd="0" parTransId="{2EE2B317-1FB6-40E9-8BFD-DF3AECA8AE2E}" sibTransId="{3D0441F3-48DE-41FE-B3F9-8ED6F0FD3AE3}"/>
    <dgm:cxn modelId="{B9EA2409-44CB-4C4B-880A-70B01600F70A}" type="presOf" srcId="{4B863DA1-92B8-4FBB-929C-A68916C751E8}" destId="{4EFC92AA-C863-47F5-8221-722AAD244380}" srcOrd="0" destOrd="1" presId="urn:microsoft.com/office/officeart/2005/8/layout/hProcess11"/>
    <dgm:cxn modelId="{B820B910-365B-415B-AC14-DB065FFAFB77}" srcId="{3ED37F2D-A2C1-46E8-AE48-9E20C9C4DCFC}" destId="{68F342F0-38E1-421B-B89F-8CF8BE85824C}" srcOrd="4" destOrd="0" parTransId="{27BADC02-93EB-4035-BFFF-29F29349FD07}" sibTransId="{95B946B2-F2A7-4A51-98CF-C99126CB8ABD}"/>
    <dgm:cxn modelId="{338EC810-CD1F-4EC6-9D31-5224C7466C52}" srcId="{B4FB8795-9D69-4E2E-897D-1FA9E38A7D33}" destId="{2039A681-9A7E-4E49-B315-6222D8D39936}" srcOrd="2" destOrd="0" parTransId="{4A43C206-96DC-4BF3-B7BE-19C0BCC9FE4C}" sibTransId="{CE056E58-2E1D-49F0-82E9-5444D0674C97}"/>
    <dgm:cxn modelId="{0536E012-D587-4695-A46F-28E6DAEB694E}" srcId="{B4FB8795-9D69-4E2E-897D-1FA9E38A7D33}" destId="{359F1A59-770A-4507-AF69-CE339EC5D52C}" srcOrd="0" destOrd="0" parTransId="{CC3F433A-6326-4B4B-A3F6-535942049A2C}" sibTransId="{E1C7B431-CF9D-473D-AB79-79A9F6CA64D0}"/>
    <dgm:cxn modelId="{DC315315-A492-4906-BD5F-17C58B72A0E7}" srcId="{359F1A59-770A-4507-AF69-CE339EC5D52C}" destId="{5B45A416-2C58-4953-B805-9B1EEBADDAE4}" srcOrd="0" destOrd="0" parTransId="{D86826DC-1641-49D5-9BD0-5F19F4120BA6}" sibTransId="{EA752DA3-6BD4-4DF1-848E-AAEFBE4EE2FB}"/>
    <dgm:cxn modelId="{59D1BA15-A5BB-453F-A8E2-7B73A629063A}" type="presOf" srcId="{A497DE6F-0623-4ECA-A991-41076F8F6BC0}" destId="{12D4E075-D9D0-44F1-8DA9-A822824B47CF}" srcOrd="0" destOrd="2" presId="urn:microsoft.com/office/officeart/2005/8/layout/hProcess11"/>
    <dgm:cxn modelId="{40164422-40DE-4F44-B84D-C8277FEF0C26}" srcId="{359F1A59-770A-4507-AF69-CE339EC5D52C}" destId="{81169DDF-9EBE-4015-9E7C-5C7E12044A9C}" srcOrd="1" destOrd="0" parTransId="{E5BD2E21-FBB0-4C82-AB02-4AA1E9F34F47}" sibTransId="{2D13B4A5-B317-44A5-B775-8F37CB2D1A9C}"/>
    <dgm:cxn modelId="{A4D77223-71F4-4E05-BF50-E53F4CA455FB}" type="presOf" srcId="{56544F34-8204-4558-B115-B07831B2167D}" destId="{4EFC92AA-C863-47F5-8221-722AAD244380}" srcOrd="0" destOrd="2" presId="urn:microsoft.com/office/officeart/2005/8/layout/hProcess11"/>
    <dgm:cxn modelId="{6B08D226-92EC-4CC3-B933-E6EB90FE5FF0}" type="presOf" srcId="{68F342F0-38E1-421B-B89F-8CF8BE85824C}" destId="{12D4E075-D9D0-44F1-8DA9-A822824B47CF}" srcOrd="0" destOrd="5" presId="urn:microsoft.com/office/officeart/2005/8/layout/hProcess11"/>
    <dgm:cxn modelId="{8F837D27-57CE-456F-BFE2-BE66C43F80A5}" type="presOf" srcId="{82D5E4D0-102B-42F3-9704-811EB5AEA0FC}" destId="{4F6DC08A-8681-463B-B185-FEB97D9C5904}" srcOrd="0" destOrd="0" presId="urn:microsoft.com/office/officeart/2005/8/layout/hProcess11"/>
    <dgm:cxn modelId="{1A877A35-1ABF-4024-98D0-CB4E4BAF19EE}" srcId="{2039A681-9A7E-4E49-B315-6222D8D39936}" destId="{B42E736B-A3E7-4242-AC58-95C478323EE6}" srcOrd="4" destOrd="0" parTransId="{50E94287-1F9B-44E9-A94E-743711CA9873}" sibTransId="{6A117BF4-2D47-401C-B213-220900CE4A67}"/>
    <dgm:cxn modelId="{78A0763C-8E88-406D-9A51-5673C813AEF3}" type="presOf" srcId="{C2FA3F31-81F2-477B-9921-315970FE0E09}" destId="{12D4E075-D9D0-44F1-8DA9-A822824B47CF}" srcOrd="0" destOrd="4" presId="urn:microsoft.com/office/officeart/2005/8/layout/hProcess11"/>
    <dgm:cxn modelId="{5C21293E-2C82-48DE-80E5-A3259575512D}" srcId="{632B65FE-FE9A-4E49-8306-DE1F53BEA7EF}" destId="{1BA45882-10A2-450D-9B3D-73335D1962EB}" srcOrd="2" destOrd="0" parTransId="{80AFD789-1A89-417A-AF53-A9D163859EBB}" sibTransId="{CF11117D-A8F8-4451-B810-E413A3185471}"/>
    <dgm:cxn modelId="{D11B9A40-0E34-43E2-9365-F8D389F1E395}" srcId="{632B65FE-FE9A-4E49-8306-DE1F53BEA7EF}" destId="{4B863DA1-92B8-4FBB-929C-A68916C751E8}" srcOrd="0" destOrd="0" parTransId="{E9262D81-EB8A-4F46-B099-D851D04B470A}" sibTransId="{A34CCEBF-5654-4BF6-A1FF-792D083415BC}"/>
    <dgm:cxn modelId="{231D7B5C-5005-43E1-B2A2-45A277702B6C}" type="presOf" srcId="{B4FB8795-9D69-4E2E-897D-1FA9E38A7D33}" destId="{F45489CC-2236-41DF-8E71-7BBF9EF94E90}" srcOrd="0" destOrd="0" presId="urn:microsoft.com/office/officeart/2005/8/layout/hProcess11"/>
    <dgm:cxn modelId="{1828605E-045C-47F4-9045-68990ECAA693}" type="presOf" srcId="{CB2576E1-DB6D-4E64-8CB1-5C03C5645D59}" destId="{51B523C7-AA0D-41BA-BBEA-A2AF2397484F}" srcOrd="0" destOrd="4" presId="urn:microsoft.com/office/officeart/2005/8/layout/hProcess11"/>
    <dgm:cxn modelId="{1813BD41-48FC-427B-A90D-984ACF505FA2}" srcId="{2039A681-9A7E-4E49-B315-6222D8D39936}" destId="{8BDC7653-03FD-475C-8243-3D7F2F7DCFC6}" srcOrd="5" destOrd="0" parTransId="{8473E4A2-145C-411A-802E-9F5ECF41E84A}" sibTransId="{BA6915C7-84AF-4DED-B259-0EA37BC191DE}"/>
    <dgm:cxn modelId="{7EC15266-7CC8-4026-9729-45BB3EF63C89}" srcId="{2039A681-9A7E-4E49-B315-6222D8D39936}" destId="{CB2576E1-DB6D-4E64-8CB1-5C03C5645D59}" srcOrd="3" destOrd="0" parTransId="{E3D23828-3D4C-4086-8140-75F363586471}" sibTransId="{9FB55F51-9A18-433C-A7C5-4FA9A160845A}"/>
    <dgm:cxn modelId="{2287A969-074B-4214-BF22-012904F6A563}" srcId="{2039A681-9A7E-4E49-B315-6222D8D39936}" destId="{B92B5F9A-A287-4DAE-937D-4BA199CD7D7A}" srcOrd="2" destOrd="0" parTransId="{AE9D4BA8-CAAB-4FD4-8E0B-566E77E3C1D9}" sibTransId="{B83EB04F-6A11-45A1-8666-432F73B2DFE9}"/>
    <dgm:cxn modelId="{C2C7FB49-9EFA-4AA0-A6E8-343A2A52B818}" srcId="{B4FB8795-9D69-4E2E-897D-1FA9E38A7D33}" destId="{632B65FE-FE9A-4E49-8306-DE1F53BEA7EF}" srcOrd="3" destOrd="0" parTransId="{6F5E55F2-A189-4AA5-9EB7-4435C047C076}" sibTransId="{74189B90-7ADC-47E9-B44D-B780A82074A6}"/>
    <dgm:cxn modelId="{D779226A-CD01-43BC-AE31-595100F52FCB}" type="presOf" srcId="{B92B5F9A-A287-4DAE-937D-4BA199CD7D7A}" destId="{51B523C7-AA0D-41BA-BBEA-A2AF2397484F}" srcOrd="0" destOrd="3" presId="urn:microsoft.com/office/officeart/2005/8/layout/hProcess11"/>
    <dgm:cxn modelId="{6244464A-44AF-4ECF-B400-C05F0CEF1AD7}" srcId="{3ED37F2D-A2C1-46E8-AE48-9E20C9C4DCFC}" destId="{40EF8B0B-F56B-453F-8A83-1A45063A1AA1}" srcOrd="2" destOrd="0" parTransId="{1A248352-84A2-4550-90A1-EE4D72452F2C}" sibTransId="{9F79DB9A-2C5E-4E34-B425-39F5BE5F7D4A}"/>
    <dgm:cxn modelId="{664F684B-8AF0-47F2-B077-22DF980EA42C}" type="presOf" srcId="{5B45A416-2C58-4953-B805-9B1EEBADDAE4}" destId="{121C82D5-9D1D-4DAC-A768-CC6AF5B958B7}" srcOrd="0" destOrd="1" presId="urn:microsoft.com/office/officeart/2005/8/layout/hProcess11"/>
    <dgm:cxn modelId="{3A01686C-5B5F-4968-9635-65C31A24BCFD}" type="presOf" srcId="{632B65FE-FE9A-4E49-8306-DE1F53BEA7EF}" destId="{4EFC92AA-C863-47F5-8221-722AAD244380}" srcOrd="0" destOrd="0" presId="urn:microsoft.com/office/officeart/2005/8/layout/hProcess11"/>
    <dgm:cxn modelId="{7CBCD04F-FFD3-4B75-ABBB-7ACB5D04DE0D}" type="presOf" srcId="{B42E736B-A3E7-4242-AC58-95C478323EE6}" destId="{51B523C7-AA0D-41BA-BBEA-A2AF2397484F}" srcOrd="0" destOrd="5" presId="urn:microsoft.com/office/officeart/2005/8/layout/hProcess11"/>
    <dgm:cxn modelId="{32FF2170-9EE2-41CC-9C55-6DDC2754FC6B}" srcId="{3ED37F2D-A2C1-46E8-AE48-9E20C9C4DCFC}" destId="{21B74667-C2EE-48A0-A6A0-8EA75EB36583}" srcOrd="0" destOrd="0" parTransId="{81A1ED39-D2D9-4580-8B21-4F7D50EDF4CA}" sibTransId="{6AA4CA1B-216B-4643-BD1F-F30512890C48}"/>
    <dgm:cxn modelId="{F19C6871-F507-4F01-BD3E-56048141A44F}" srcId="{82D5E4D0-102B-42F3-9704-811EB5AEA0FC}" destId="{0C5C86AB-C688-4A7C-95C2-F6818A725D58}" srcOrd="1" destOrd="0" parTransId="{010C1103-CB2F-44DE-8C53-61D32583324B}" sibTransId="{184C037C-FC72-43E5-AE98-D6D047EFB743}"/>
    <dgm:cxn modelId="{5D5F3954-4B13-451E-A6EA-D99A881F9A76}" type="presOf" srcId="{D1D5A5EF-A1E8-4098-B2F7-C04E19EA8ADD}" destId="{FFE50A5D-7559-4E61-B688-E2D58CCDE279}" srcOrd="0" destOrd="0" presId="urn:microsoft.com/office/officeart/2005/8/layout/hProcess11"/>
    <dgm:cxn modelId="{EF49C57D-0A2F-4C6F-B4E5-0DC641D3C5DE}" srcId="{3ED37F2D-A2C1-46E8-AE48-9E20C9C4DCFC}" destId="{C2FA3F31-81F2-477B-9921-315970FE0E09}" srcOrd="3" destOrd="0" parTransId="{DA4CEE41-EC6C-459D-B0BB-518CE1B1A99B}" sibTransId="{4DB30B3C-2F06-4602-BEBE-F62C012B1069}"/>
    <dgm:cxn modelId="{60EFF182-9FAC-4087-B7E6-259E1342A9E0}" type="presOf" srcId="{203E5A4A-3A18-4B48-B313-AD599C081D4D}" destId="{51B523C7-AA0D-41BA-BBEA-A2AF2397484F}" srcOrd="0" destOrd="1" presId="urn:microsoft.com/office/officeart/2005/8/layout/hProcess11"/>
    <dgm:cxn modelId="{8039DB8F-0BD8-47A4-B08F-18A57E4CA75A}" srcId="{B4FB8795-9D69-4E2E-897D-1FA9E38A7D33}" destId="{82D5E4D0-102B-42F3-9704-811EB5AEA0FC}" srcOrd="1" destOrd="0" parTransId="{44924F72-0273-4031-A1F2-575C34052568}" sibTransId="{B6D6D010-095D-4961-9000-C2BF6953D339}"/>
    <dgm:cxn modelId="{37BA2C97-74D6-4066-B0EF-7F5308BC2C23}" srcId="{B4FB8795-9D69-4E2E-897D-1FA9E38A7D33}" destId="{3ED37F2D-A2C1-46E8-AE48-9E20C9C4DCFC}" srcOrd="4" destOrd="0" parTransId="{26FD5AA0-8D57-49F3-AEB9-577234C7B4DE}" sibTransId="{D1005368-C004-463C-9BCE-D29DE06EA8B7}"/>
    <dgm:cxn modelId="{31EFF19C-774A-4ACA-812D-7C8120F7656A}" type="presOf" srcId="{21B74667-C2EE-48A0-A6A0-8EA75EB36583}" destId="{12D4E075-D9D0-44F1-8DA9-A822824B47CF}" srcOrd="0" destOrd="1" presId="urn:microsoft.com/office/officeart/2005/8/layout/hProcess11"/>
    <dgm:cxn modelId="{D93336A9-733A-4E72-A8FD-E786F57A6265}" type="presOf" srcId="{0567DF68-E1D0-4E00-A55A-9F0B48F1A1D3}" destId="{51B523C7-AA0D-41BA-BBEA-A2AF2397484F}" srcOrd="0" destOrd="2" presId="urn:microsoft.com/office/officeart/2005/8/layout/hProcess11"/>
    <dgm:cxn modelId="{3A3637AC-EC5E-4855-871E-D559B642227E}" type="presOf" srcId="{8BDC7653-03FD-475C-8243-3D7F2F7DCFC6}" destId="{51B523C7-AA0D-41BA-BBEA-A2AF2397484F}" srcOrd="0" destOrd="6" presId="urn:microsoft.com/office/officeart/2005/8/layout/hProcess11"/>
    <dgm:cxn modelId="{68A6A1AF-C72B-444B-B0F1-84FA69526B56}" srcId="{2039A681-9A7E-4E49-B315-6222D8D39936}" destId="{0567DF68-E1D0-4E00-A55A-9F0B48F1A1D3}" srcOrd="1" destOrd="0" parTransId="{0FB3014E-0416-46D8-A2C6-CF16B9537C95}" sibTransId="{9200876F-5E6D-4113-867F-F6AFC4D61CFE}"/>
    <dgm:cxn modelId="{D2C163B8-0637-4411-9C03-85BA811F5760}" type="presOf" srcId="{2039A681-9A7E-4E49-B315-6222D8D39936}" destId="{51B523C7-AA0D-41BA-BBEA-A2AF2397484F}" srcOrd="0" destOrd="0" presId="urn:microsoft.com/office/officeart/2005/8/layout/hProcess11"/>
    <dgm:cxn modelId="{AEC910BC-453F-461E-A482-440D7B359EAD}" type="presOf" srcId="{359F1A59-770A-4507-AF69-CE339EC5D52C}" destId="{121C82D5-9D1D-4DAC-A768-CC6AF5B958B7}" srcOrd="0" destOrd="0" presId="urn:microsoft.com/office/officeart/2005/8/layout/hProcess11"/>
    <dgm:cxn modelId="{9A8293BD-09F3-4B3E-B12F-A7CA450C833C}" type="presOf" srcId="{1BA45882-10A2-450D-9B3D-73335D1962EB}" destId="{4EFC92AA-C863-47F5-8221-722AAD244380}" srcOrd="0" destOrd="3" presId="urn:microsoft.com/office/officeart/2005/8/layout/hProcess11"/>
    <dgm:cxn modelId="{88E885C0-8FCF-4695-83BF-0D4101F37543}" type="presOf" srcId="{0C5C86AB-C688-4A7C-95C2-F6818A725D58}" destId="{4F6DC08A-8681-463B-B185-FEB97D9C5904}" srcOrd="0" destOrd="2" presId="urn:microsoft.com/office/officeart/2005/8/layout/hProcess11"/>
    <dgm:cxn modelId="{E67BC4C6-2E1B-456C-B3E7-0ED7D5491F61}" type="presOf" srcId="{40EF8B0B-F56B-453F-8A83-1A45063A1AA1}" destId="{12D4E075-D9D0-44F1-8DA9-A822824B47CF}" srcOrd="0" destOrd="3" presId="urn:microsoft.com/office/officeart/2005/8/layout/hProcess11"/>
    <dgm:cxn modelId="{F8B089C7-618E-44CC-8EA8-7B05C671A255}" srcId="{3ED37F2D-A2C1-46E8-AE48-9E20C9C4DCFC}" destId="{A497DE6F-0623-4ECA-A991-41076F8F6BC0}" srcOrd="1" destOrd="0" parTransId="{7A02AF44-C812-4B7F-B572-AD249F06734E}" sibTransId="{31F6F310-C3B5-44B4-A576-7D182F675344}"/>
    <dgm:cxn modelId="{109F0BCC-CFF7-4DBA-A8A1-0C9A92A1276E}" srcId="{82D5E4D0-102B-42F3-9704-811EB5AEA0FC}" destId="{2539F898-50A4-4B48-B975-BB1D8506C183}" srcOrd="0" destOrd="0" parTransId="{0A3C5753-9FAB-40A0-8EB2-9E93E12036E4}" sibTransId="{3CAF5190-DD4A-4A88-88EB-C74C9CA42DE2}"/>
    <dgm:cxn modelId="{F93CF3E1-CAFA-44F5-927E-7A53D2C73210}" srcId="{632B65FE-FE9A-4E49-8306-DE1F53BEA7EF}" destId="{56544F34-8204-4558-B115-B07831B2167D}" srcOrd="1" destOrd="0" parTransId="{A7AB8E8F-CF16-4242-98BB-D167F3A07356}" sibTransId="{A4C1E52F-F19B-4938-8BC3-FA0328F593AC}"/>
    <dgm:cxn modelId="{75F9C5E3-8AB8-4E94-AF7E-A489AC1F6C14}" type="presOf" srcId="{81169DDF-9EBE-4015-9E7C-5C7E12044A9C}" destId="{121C82D5-9D1D-4DAC-A768-CC6AF5B958B7}" srcOrd="0" destOrd="2" presId="urn:microsoft.com/office/officeart/2005/8/layout/hProcess11"/>
    <dgm:cxn modelId="{1871E7E8-6EFF-40FC-ADB0-C4BE9E3351C5}" type="presOf" srcId="{2539F898-50A4-4B48-B975-BB1D8506C183}" destId="{4F6DC08A-8681-463B-B185-FEB97D9C5904}" srcOrd="0" destOrd="1" presId="urn:microsoft.com/office/officeart/2005/8/layout/hProcess11"/>
    <dgm:cxn modelId="{760757F7-47C5-440E-A9F4-1C521F406BCC}" type="presOf" srcId="{3ED37F2D-A2C1-46E8-AE48-9E20C9C4DCFC}" destId="{12D4E075-D9D0-44F1-8DA9-A822824B47CF}" srcOrd="0" destOrd="0" presId="urn:microsoft.com/office/officeart/2005/8/layout/hProcess11"/>
    <dgm:cxn modelId="{BE5633FC-A5A5-4528-BAEE-927B7088FC16}" srcId="{B4FB8795-9D69-4E2E-897D-1FA9E38A7D33}" destId="{D1D5A5EF-A1E8-4098-B2F7-C04E19EA8ADD}" srcOrd="5" destOrd="0" parTransId="{9D9A7D4E-F62B-4B59-9EE9-CB1B92F9F2BA}" sibTransId="{DAF42A7E-121C-492C-B9AE-BB22A40B0042}"/>
    <dgm:cxn modelId="{4445E847-167A-4FF8-B406-3C4BC6EB3521}" type="presParOf" srcId="{F45489CC-2236-41DF-8E71-7BBF9EF94E90}" destId="{AEDFB406-86CE-4195-9EA9-450E768581D5}" srcOrd="0" destOrd="0" presId="urn:microsoft.com/office/officeart/2005/8/layout/hProcess11"/>
    <dgm:cxn modelId="{18DA2A86-4DD7-4DE4-B154-4A1F8AFC53F3}" type="presParOf" srcId="{F45489CC-2236-41DF-8E71-7BBF9EF94E90}" destId="{31CA7B8E-2820-4BC8-BED8-2FF9FC8B4397}" srcOrd="1" destOrd="0" presId="urn:microsoft.com/office/officeart/2005/8/layout/hProcess11"/>
    <dgm:cxn modelId="{D284FECE-4B35-4C13-A7A1-76A0D8E2CEAF}" type="presParOf" srcId="{31CA7B8E-2820-4BC8-BED8-2FF9FC8B4397}" destId="{EDC32A0B-8B03-4825-A87B-0ECEB9216506}" srcOrd="0" destOrd="0" presId="urn:microsoft.com/office/officeart/2005/8/layout/hProcess11"/>
    <dgm:cxn modelId="{6D789D0E-497F-4405-83BB-9E46B01ECEEA}" type="presParOf" srcId="{EDC32A0B-8B03-4825-A87B-0ECEB9216506}" destId="{121C82D5-9D1D-4DAC-A768-CC6AF5B958B7}" srcOrd="0" destOrd="0" presId="urn:microsoft.com/office/officeart/2005/8/layout/hProcess11"/>
    <dgm:cxn modelId="{296BE982-8238-446F-AFC6-C9A0DE709DBF}" type="presParOf" srcId="{EDC32A0B-8B03-4825-A87B-0ECEB9216506}" destId="{D30DE9C7-C8B1-4D4A-B18B-113EF440880A}" srcOrd="1" destOrd="0" presId="urn:microsoft.com/office/officeart/2005/8/layout/hProcess11"/>
    <dgm:cxn modelId="{AC0001B0-88A3-4C2C-87A7-D5B1F3DC91BF}" type="presParOf" srcId="{EDC32A0B-8B03-4825-A87B-0ECEB9216506}" destId="{2A1AD04C-630D-458B-B455-033531A95593}" srcOrd="2" destOrd="0" presId="urn:microsoft.com/office/officeart/2005/8/layout/hProcess11"/>
    <dgm:cxn modelId="{31064520-0871-4ACB-AB58-5F1724F262AB}" type="presParOf" srcId="{31CA7B8E-2820-4BC8-BED8-2FF9FC8B4397}" destId="{8000A304-64F2-4152-918E-ADA6E92B46D6}" srcOrd="1" destOrd="0" presId="urn:microsoft.com/office/officeart/2005/8/layout/hProcess11"/>
    <dgm:cxn modelId="{37F46BBB-DCF1-4EA9-9E97-AFEF8F8DAC1B}" type="presParOf" srcId="{31CA7B8E-2820-4BC8-BED8-2FF9FC8B4397}" destId="{44E64E66-40FF-4E8D-99E9-B8AE71310C5F}" srcOrd="2" destOrd="0" presId="urn:microsoft.com/office/officeart/2005/8/layout/hProcess11"/>
    <dgm:cxn modelId="{2BEB4CE4-3E14-416B-BE30-E5B88013CC22}" type="presParOf" srcId="{44E64E66-40FF-4E8D-99E9-B8AE71310C5F}" destId="{4F6DC08A-8681-463B-B185-FEB97D9C5904}" srcOrd="0" destOrd="0" presId="urn:microsoft.com/office/officeart/2005/8/layout/hProcess11"/>
    <dgm:cxn modelId="{6F618C32-578B-48B9-A6F2-607020090CAF}" type="presParOf" srcId="{44E64E66-40FF-4E8D-99E9-B8AE71310C5F}" destId="{1A862AEE-22B0-4B39-BC4D-A2F8520EB83B}" srcOrd="1" destOrd="0" presId="urn:microsoft.com/office/officeart/2005/8/layout/hProcess11"/>
    <dgm:cxn modelId="{209A66D7-F95F-4B9F-8F1F-B1C90F8E2B8E}" type="presParOf" srcId="{44E64E66-40FF-4E8D-99E9-B8AE71310C5F}" destId="{F945383F-08A6-489E-A55D-28A67E566F99}" srcOrd="2" destOrd="0" presId="urn:microsoft.com/office/officeart/2005/8/layout/hProcess11"/>
    <dgm:cxn modelId="{55B12E89-3BBE-4D93-870C-8CAD616A6050}" type="presParOf" srcId="{31CA7B8E-2820-4BC8-BED8-2FF9FC8B4397}" destId="{B33AEA9F-54E1-4DB9-A91B-4CEF78C56831}" srcOrd="3" destOrd="0" presId="urn:microsoft.com/office/officeart/2005/8/layout/hProcess11"/>
    <dgm:cxn modelId="{88239DBE-2E52-4B71-8B01-7A56753D5E32}" type="presParOf" srcId="{31CA7B8E-2820-4BC8-BED8-2FF9FC8B4397}" destId="{01E7D6B2-0405-43A5-9D69-78AB357BE588}" srcOrd="4" destOrd="0" presId="urn:microsoft.com/office/officeart/2005/8/layout/hProcess11"/>
    <dgm:cxn modelId="{5264812A-1229-4C00-A0F5-EE960DAB93BE}" type="presParOf" srcId="{01E7D6B2-0405-43A5-9D69-78AB357BE588}" destId="{51B523C7-AA0D-41BA-BBEA-A2AF2397484F}" srcOrd="0" destOrd="0" presId="urn:microsoft.com/office/officeart/2005/8/layout/hProcess11"/>
    <dgm:cxn modelId="{F143F824-741E-435E-A380-BBA1DF80BBF9}" type="presParOf" srcId="{01E7D6B2-0405-43A5-9D69-78AB357BE588}" destId="{96E4CE1A-1CE9-4AFA-BC05-D711FA6F6474}" srcOrd="1" destOrd="0" presId="urn:microsoft.com/office/officeart/2005/8/layout/hProcess11"/>
    <dgm:cxn modelId="{58694547-4F5A-4693-ACAF-046B62F53FC9}" type="presParOf" srcId="{01E7D6B2-0405-43A5-9D69-78AB357BE588}" destId="{303F8138-7621-4432-AD1F-4C9F03098378}" srcOrd="2" destOrd="0" presId="urn:microsoft.com/office/officeart/2005/8/layout/hProcess11"/>
    <dgm:cxn modelId="{DEB36895-F7D0-40D6-8953-9415B1BBE9C2}" type="presParOf" srcId="{31CA7B8E-2820-4BC8-BED8-2FF9FC8B4397}" destId="{98B77170-DDAA-45E9-B106-396CDD68F317}" srcOrd="5" destOrd="0" presId="urn:microsoft.com/office/officeart/2005/8/layout/hProcess11"/>
    <dgm:cxn modelId="{C9FE8906-1F16-4B5C-83A2-F87A1A90B46A}" type="presParOf" srcId="{31CA7B8E-2820-4BC8-BED8-2FF9FC8B4397}" destId="{9AC68EFA-F352-4F63-BC9D-40EB75BED463}" srcOrd="6" destOrd="0" presId="urn:microsoft.com/office/officeart/2005/8/layout/hProcess11"/>
    <dgm:cxn modelId="{A87475CF-1BD8-43F5-8BA8-F447990532CD}" type="presParOf" srcId="{9AC68EFA-F352-4F63-BC9D-40EB75BED463}" destId="{4EFC92AA-C863-47F5-8221-722AAD244380}" srcOrd="0" destOrd="0" presId="urn:microsoft.com/office/officeart/2005/8/layout/hProcess11"/>
    <dgm:cxn modelId="{00874E9D-5ABB-4EE6-BA3B-E6334A3131EB}" type="presParOf" srcId="{9AC68EFA-F352-4F63-BC9D-40EB75BED463}" destId="{F222634A-6800-443E-A07A-27B8D78F28D6}" srcOrd="1" destOrd="0" presId="urn:microsoft.com/office/officeart/2005/8/layout/hProcess11"/>
    <dgm:cxn modelId="{0EF5E9CF-E958-430E-B2A6-04471322EA6C}" type="presParOf" srcId="{9AC68EFA-F352-4F63-BC9D-40EB75BED463}" destId="{361859DD-AE69-4E8D-BBDD-A248E1AF2AB7}" srcOrd="2" destOrd="0" presId="urn:microsoft.com/office/officeart/2005/8/layout/hProcess11"/>
    <dgm:cxn modelId="{2BC650A4-0D71-46FE-956D-CB317A6F3235}" type="presParOf" srcId="{31CA7B8E-2820-4BC8-BED8-2FF9FC8B4397}" destId="{13968A48-154B-427F-A80F-D4DE2E9A17B1}" srcOrd="7" destOrd="0" presId="urn:microsoft.com/office/officeart/2005/8/layout/hProcess11"/>
    <dgm:cxn modelId="{AC7439E6-31C5-4DAE-9738-497FD941378C}" type="presParOf" srcId="{31CA7B8E-2820-4BC8-BED8-2FF9FC8B4397}" destId="{381654CA-1BDF-47EB-98BE-A5CF15FD7D79}" srcOrd="8" destOrd="0" presId="urn:microsoft.com/office/officeart/2005/8/layout/hProcess11"/>
    <dgm:cxn modelId="{8436B441-55BA-4521-9E2C-10BFC8457BF7}" type="presParOf" srcId="{381654CA-1BDF-47EB-98BE-A5CF15FD7D79}" destId="{12D4E075-D9D0-44F1-8DA9-A822824B47CF}" srcOrd="0" destOrd="0" presId="urn:microsoft.com/office/officeart/2005/8/layout/hProcess11"/>
    <dgm:cxn modelId="{99F56959-BDDF-41DE-A3AE-B42F47CD7B16}" type="presParOf" srcId="{381654CA-1BDF-47EB-98BE-A5CF15FD7D79}" destId="{1142F26E-0F6F-4BF0-BCBC-B9C56D456B4D}" srcOrd="1" destOrd="0" presId="urn:microsoft.com/office/officeart/2005/8/layout/hProcess11"/>
    <dgm:cxn modelId="{131845FE-658F-4AE0-A72E-0F21C2E51DAB}" type="presParOf" srcId="{381654CA-1BDF-47EB-98BE-A5CF15FD7D79}" destId="{A1867307-460B-434A-8D2C-920273D2FED5}" srcOrd="2" destOrd="0" presId="urn:microsoft.com/office/officeart/2005/8/layout/hProcess11"/>
    <dgm:cxn modelId="{D1567169-2521-4AC5-BC0F-114358C50492}" type="presParOf" srcId="{31CA7B8E-2820-4BC8-BED8-2FF9FC8B4397}" destId="{944DF295-AEA8-4C83-B8A6-87FDCBFDA79B}" srcOrd="9" destOrd="0" presId="urn:microsoft.com/office/officeart/2005/8/layout/hProcess11"/>
    <dgm:cxn modelId="{65AC11A5-AE93-467F-AB7A-FF0C03F14807}" type="presParOf" srcId="{31CA7B8E-2820-4BC8-BED8-2FF9FC8B4397}" destId="{2B84307F-DDB0-4FAD-996C-2E7041B8B591}" srcOrd="10" destOrd="0" presId="urn:microsoft.com/office/officeart/2005/8/layout/hProcess11"/>
    <dgm:cxn modelId="{089F6EEE-E1E3-4864-8258-8FD8F43A3DE5}" type="presParOf" srcId="{2B84307F-DDB0-4FAD-996C-2E7041B8B591}" destId="{FFE50A5D-7559-4E61-B688-E2D58CCDE279}" srcOrd="0" destOrd="0" presId="urn:microsoft.com/office/officeart/2005/8/layout/hProcess11"/>
    <dgm:cxn modelId="{6F7FBB41-033C-40FF-BAB6-086D43700E26}" type="presParOf" srcId="{2B84307F-DDB0-4FAD-996C-2E7041B8B591}" destId="{924ED990-BB0C-42E0-8039-EAF709F13CF3}" srcOrd="1" destOrd="0" presId="urn:microsoft.com/office/officeart/2005/8/layout/hProcess11"/>
    <dgm:cxn modelId="{09C976D5-BE9E-46FA-90AD-BFB99C6C15D6}" type="presParOf" srcId="{2B84307F-DDB0-4FAD-996C-2E7041B8B591}" destId="{687046D0-3642-409F-834C-04076363F89B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DFB406-86CE-4195-9EA9-450E768581D5}">
      <dsp:nvSpPr>
        <dsp:cNvPr id="0" name=""/>
        <dsp:cNvSpPr/>
      </dsp:nvSpPr>
      <dsp:spPr>
        <a:xfrm>
          <a:off x="0" y="1578008"/>
          <a:ext cx="11505791" cy="2104011"/>
        </a:xfrm>
        <a:prstGeom prst="notchedRightArrow">
          <a:avLst/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21C82D5-9D1D-4DAC-A768-CC6AF5B958B7}">
      <dsp:nvSpPr>
        <dsp:cNvPr id="0" name=""/>
        <dsp:cNvSpPr/>
      </dsp:nvSpPr>
      <dsp:spPr>
        <a:xfrm>
          <a:off x="3408" y="0"/>
          <a:ext cx="1390470" cy="21040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b" anchorCtr="1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kern="1200" dirty="0"/>
            <a:t>November 2022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900" kern="1200" dirty="0"/>
            <a:t>Chat GPT lanseres 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900" kern="1200" dirty="0"/>
            <a:t>Utdanningsledere blir gjort oppmerksomme</a:t>
          </a:r>
        </a:p>
      </dsp:txBody>
      <dsp:txXfrm>
        <a:off x="3408" y="0"/>
        <a:ext cx="1390470" cy="2104011"/>
      </dsp:txXfrm>
    </dsp:sp>
    <dsp:sp modelId="{D30DE9C7-C8B1-4D4A-B18B-113EF440880A}">
      <dsp:nvSpPr>
        <dsp:cNvPr id="0" name=""/>
        <dsp:cNvSpPr/>
      </dsp:nvSpPr>
      <dsp:spPr>
        <a:xfrm>
          <a:off x="435642" y="2367012"/>
          <a:ext cx="526002" cy="526002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F6DC08A-8681-463B-B185-FEB97D9C5904}">
      <dsp:nvSpPr>
        <dsp:cNvPr id="0" name=""/>
        <dsp:cNvSpPr/>
      </dsp:nvSpPr>
      <dsp:spPr>
        <a:xfrm>
          <a:off x="1463402" y="3156016"/>
          <a:ext cx="1643522" cy="21040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t" anchorCtr="1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kern="1200" dirty="0"/>
            <a:t>Februar 2023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900" kern="1200" dirty="0"/>
            <a:t>Internseminarer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900" b="1" kern="1200" dirty="0"/>
            <a:t>AI </a:t>
          </a:r>
          <a:r>
            <a:rPr lang="nb-NO" sz="900" b="1" kern="1200" dirty="0" err="1"/>
            <a:t>Task</a:t>
          </a:r>
          <a:r>
            <a:rPr lang="nb-NO" sz="900" b="1" kern="1200" dirty="0"/>
            <a:t> Force etableres</a:t>
          </a:r>
        </a:p>
      </dsp:txBody>
      <dsp:txXfrm>
        <a:off x="1463402" y="3156016"/>
        <a:ext cx="1643522" cy="2104011"/>
      </dsp:txXfrm>
    </dsp:sp>
    <dsp:sp modelId="{1A862AEE-22B0-4B39-BC4D-A2F8520EB83B}">
      <dsp:nvSpPr>
        <dsp:cNvPr id="0" name=""/>
        <dsp:cNvSpPr/>
      </dsp:nvSpPr>
      <dsp:spPr>
        <a:xfrm>
          <a:off x="2022162" y="2367012"/>
          <a:ext cx="526002" cy="526002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1B523C7-AA0D-41BA-BBEA-A2AF2397484F}">
      <dsp:nvSpPr>
        <dsp:cNvPr id="0" name=""/>
        <dsp:cNvSpPr/>
      </dsp:nvSpPr>
      <dsp:spPr>
        <a:xfrm>
          <a:off x="3176448" y="0"/>
          <a:ext cx="1876731" cy="21040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b" anchorCtr="1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kern="1200" dirty="0"/>
            <a:t>Mars 2023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900" kern="1200" dirty="0"/>
            <a:t>Presisering av regelverk for fusk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900" kern="1200" dirty="0"/>
            <a:t>Tillegg til sensorveiledning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900" kern="1200" dirty="0"/>
            <a:t>Informasjon til studentene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900" kern="1200" dirty="0"/>
            <a:t>Planlegging av høstens emner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900" kern="1200" dirty="0"/>
            <a:t>Ressursside for undervisere/sensorer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900" kern="1200" dirty="0"/>
            <a:t>Kurs for </a:t>
          </a:r>
          <a:r>
            <a:rPr lang="nb-NO" sz="900" kern="1200" dirty="0" err="1"/>
            <a:t>emneansvarlige</a:t>
          </a:r>
          <a:r>
            <a:rPr lang="nb-NO" sz="900" kern="1200" dirty="0"/>
            <a:t> og sensorer</a:t>
          </a:r>
        </a:p>
      </dsp:txBody>
      <dsp:txXfrm>
        <a:off x="3176448" y="0"/>
        <a:ext cx="1876731" cy="2104011"/>
      </dsp:txXfrm>
    </dsp:sp>
    <dsp:sp modelId="{96E4CE1A-1CE9-4AFA-BC05-D711FA6F6474}">
      <dsp:nvSpPr>
        <dsp:cNvPr id="0" name=""/>
        <dsp:cNvSpPr/>
      </dsp:nvSpPr>
      <dsp:spPr>
        <a:xfrm>
          <a:off x="3851812" y="2367012"/>
          <a:ext cx="526002" cy="526002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EFC92AA-C863-47F5-8221-722AAD244380}">
      <dsp:nvSpPr>
        <dsp:cNvPr id="0" name=""/>
        <dsp:cNvSpPr/>
      </dsp:nvSpPr>
      <dsp:spPr>
        <a:xfrm>
          <a:off x="5122703" y="3156016"/>
          <a:ext cx="1719122" cy="21040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t" anchorCtr="1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kern="1200" dirty="0"/>
            <a:t>April 2023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900" kern="1200" dirty="0"/>
            <a:t>Tilpassing av eksamensoppgaver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900" kern="1200" dirty="0"/>
            <a:t>Tildeling av </a:t>
          </a:r>
          <a:r>
            <a:rPr lang="nb-NO" sz="900" kern="1200" dirty="0" err="1"/>
            <a:t>såkormidler</a:t>
          </a:r>
          <a:r>
            <a:rPr lang="nb-NO" sz="900" kern="1200" dirty="0"/>
            <a:t> til AI-prosjekter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900" kern="1200" dirty="0"/>
            <a:t>Kartlegging av bruk av AI i utdanning ved fakultetet</a:t>
          </a:r>
        </a:p>
      </dsp:txBody>
      <dsp:txXfrm>
        <a:off x="5122703" y="3156016"/>
        <a:ext cx="1719122" cy="2104011"/>
      </dsp:txXfrm>
    </dsp:sp>
    <dsp:sp modelId="{F222634A-6800-443E-A07A-27B8D78F28D6}">
      <dsp:nvSpPr>
        <dsp:cNvPr id="0" name=""/>
        <dsp:cNvSpPr/>
      </dsp:nvSpPr>
      <dsp:spPr>
        <a:xfrm>
          <a:off x="5719263" y="2367012"/>
          <a:ext cx="526002" cy="526002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2D4E075-D9D0-44F1-8DA9-A822824B47CF}">
      <dsp:nvSpPr>
        <dsp:cNvPr id="0" name=""/>
        <dsp:cNvSpPr/>
      </dsp:nvSpPr>
      <dsp:spPr>
        <a:xfrm>
          <a:off x="6911349" y="0"/>
          <a:ext cx="1980460" cy="21040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b" anchorCtr="1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kern="1200" dirty="0"/>
            <a:t>Mai/Juni 2023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900" kern="1200" dirty="0"/>
            <a:t>Juridisk handlingsrom?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900" kern="1200" dirty="0"/>
            <a:t>Etikk?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900" kern="1200" dirty="0"/>
            <a:t>Hvordan brukes AI i undervisning i dag?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900" kern="1200" dirty="0"/>
            <a:t>Hvilken plass skal AI ha?</a:t>
          </a:r>
        </a:p>
        <a:p>
          <a:pPr marL="57150" lvl="1" indent="-57150" algn="l" defTabSz="4000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900" kern="1200" dirty="0"/>
            <a:t>Hvilke problemstillinger møter vi? </a:t>
          </a:r>
        </a:p>
      </dsp:txBody>
      <dsp:txXfrm>
        <a:off x="6911349" y="0"/>
        <a:ext cx="1980460" cy="2104011"/>
      </dsp:txXfrm>
    </dsp:sp>
    <dsp:sp modelId="{1142F26E-0F6F-4BF0-BCBC-B9C56D456B4D}">
      <dsp:nvSpPr>
        <dsp:cNvPr id="0" name=""/>
        <dsp:cNvSpPr/>
      </dsp:nvSpPr>
      <dsp:spPr>
        <a:xfrm>
          <a:off x="7638578" y="2367012"/>
          <a:ext cx="526002" cy="526002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FE50A5D-7559-4E61-B688-E2D58CCDE279}">
      <dsp:nvSpPr>
        <dsp:cNvPr id="0" name=""/>
        <dsp:cNvSpPr/>
      </dsp:nvSpPr>
      <dsp:spPr>
        <a:xfrm>
          <a:off x="8961333" y="3156016"/>
          <a:ext cx="1390470" cy="21040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32" tIns="78232" rIns="78232" bIns="78232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kern="1200" dirty="0"/>
            <a:t>September 2023</a:t>
          </a:r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kern="1200" dirty="0"/>
            <a:t>Juridisk handlingsrom?</a:t>
          </a:r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kern="1200" dirty="0"/>
            <a:t>Etikk?</a:t>
          </a:r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kern="1200" dirty="0"/>
            <a:t>Hvordan brukes AI i undervisning i dag?</a:t>
          </a:r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kern="1200" dirty="0"/>
            <a:t>Hvilken plass skal AI ha?</a:t>
          </a:r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100" kern="1200" dirty="0"/>
            <a:t>Hvilke problemstillinger møter vi? </a:t>
          </a:r>
        </a:p>
      </dsp:txBody>
      <dsp:txXfrm>
        <a:off x="8961333" y="3156016"/>
        <a:ext cx="1390470" cy="2104011"/>
      </dsp:txXfrm>
    </dsp:sp>
    <dsp:sp modelId="{924ED990-BB0C-42E0-8039-EAF709F13CF3}">
      <dsp:nvSpPr>
        <dsp:cNvPr id="0" name=""/>
        <dsp:cNvSpPr/>
      </dsp:nvSpPr>
      <dsp:spPr>
        <a:xfrm>
          <a:off x="9393567" y="2367012"/>
          <a:ext cx="526002" cy="526002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9/2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Intro: </a:t>
            </a:r>
          </a:p>
          <a:p>
            <a:pPr marL="171450" indent="-171450">
              <a:buFontTx/>
              <a:buChar char="-"/>
            </a:pPr>
            <a:r>
              <a:rPr lang="nb-NO" dirty="0"/>
              <a:t>Om meg: historiker, koordinator for EILIN. Ingen AI-ekspert, men opptatt av hvordan vi utformer utdanningene våre, slik at kandidatene er best mulig rustet for livet etterpå</a:t>
            </a:r>
          </a:p>
          <a:p>
            <a:pPr marL="171450" indent="-171450">
              <a:buFontTx/>
              <a:buChar char="-"/>
            </a:pPr>
            <a:r>
              <a:rPr lang="nb-NO" dirty="0"/>
              <a:t>Denne presentasjonen tar utgangspunkt i det pågående arbeidet ved vårt fakultet</a:t>
            </a:r>
          </a:p>
          <a:p>
            <a:pPr marL="171450" indent="-171450">
              <a:buFontTx/>
              <a:buChar char="-"/>
            </a:pPr>
            <a:r>
              <a:rPr lang="nb-NO" dirty="0"/>
              <a:t>Dette er ikke en presentasjon av hva AI er og kan bli</a:t>
            </a:r>
          </a:p>
          <a:p>
            <a:pPr marL="171450" indent="-171450">
              <a:buFontTx/>
              <a:buChar char="-"/>
            </a:pPr>
            <a:r>
              <a:rPr lang="nb-NO" dirty="0"/>
              <a:t>Flere spørsmål enn svar </a:t>
            </a:r>
          </a:p>
          <a:p>
            <a:pPr marL="171450" indent="-171450">
              <a:buFontTx/>
              <a:buChar char="-"/>
            </a:pPr>
            <a:r>
              <a:rPr lang="nb-NO" dirty="0"/>
              <a:t>Litt skrekkblandet fryd</a:t>
            </a:r>
          </a:p>
          <a:p>
            <a:pPr marL="171450" indent="-171450">
              <a:buFontTx/>
              <a:buChar char="-"/>
            </a:pPr>
            <a:r>
              <a:rPr lang="nb-NO" dirty="0"/>
              <a:t>Struktur på denne presentasjonen; </a:t>
            </a:r>
          </a:p>
          <a:p>
            <a:pPr marL="628582" lvl="1" indent="-171450">
              <a:buFontTx/>
              <a:buChar char="-"/>
            </a:pPr>
            <a:r>
              <a:rPr lang="nb-NO" dirty="0"/>
              <a:t>Litt historisk bakgrunn fra SV-fakultetet</a:t>
            </a:r>
          </a:p>
          <a:p>
            <a:pPr marL="628582" lvl="1" indent="-171450">
              <a:buFontTx/>
              <a:buChar char="-"/>
            </a:pPr>
            <a:r>
              <a:rPr lang="nb-NO" dirty="0"/>
              <a:t>Problemstillinger for</a:t>
            </a:r>
          </a:p>
          <a:p>
            <a:pPr marL="1085713" lvl="2" indent="-171450">
              <a:buFontTx/>
              <a:buChar char="-"/>
            </a:pPr>
            <a:r>
              <a:rPr lang="nb-NO" dirty="0"/>
              <a:t>Studentene</a:t>
            </a:r>
          </a:p>
          <a:p>
            <a:pPr marL="1085713" lvl="2" indent="-171450">
              <a:buFontTx/>
              <a:buChar char="-"/>
            </a:pPr>
            <a:r>
              <a:rPr lang="nb-NO" dirty="0"/>
              <a:t>De vitenskapelig ansatte</a:t>
            </a:r>
          </a:p>
          <a:p>
            <a:pPr marL="1085713" lvl="2" indent="-171450">
              <a:buFontTx/>
              <a:buChar char="-"/>
            </a:pPr>
            <a:r>
              <a:rPr lang="nb-NO" dirty="0"/>
              <a:t>Administrasjonen</a:t>
            </a:r>
          </a:p>
          <a:p>
            <a:pPr marL="1085713" lvl="2" indent="-171450">
              <a:buFontTx/>
              <a:buChar char="-"/>
            </a:pPr>
            <a:r>
              <a:rPr lang="nb-NO" dirty="0"/>
              <a:t>Institusjonene </a:t>
            </a:r>
          </a:p>
          <a:p>
            <a:pPr marL="171450" lvl="0" indent="-171450">
              <a:buFontTx/>
              <a:buChar char="-"/>
            </a:pPr>
            <a:r>
              <a:rPr lang="nb-NO" dirty="0"/>
              <a:t>Gleder meg til å høre hva dere tenker, og hvordan dere jobber med A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02991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9549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nb-NO" dirty="0"/>
              <a:t>Hvordan fungere som kontrollmekanisme?</a:t>
            </a:r>
          </a:p>
          <a:p>
            <a:pPr marL="171450" indent="-171450">
              <a:buFontTx/>
              <a:buChar char="-"/>
            </a:pPr>
            <a:r>
              <a:rPr lang="nb-NO" dirty="0"/>
              <a:t>AI rådgiver?</a:t>
            </a:r>
          </a:p>
          <a:p>
            <a:pPr marL="171450" indent="-171450">
              <a:buFontTx/>
              <a:buChar char="-"/>
            </a:pPr>
            <a:r>
              <a:rPr lang="nb-NO" dirty="0"/>
              <a:t>AI saksbehandling, veiledning osv.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45495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935581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52350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nb-NO" dirty="0"/>
              <a:t>Sist jeg var her, snakket jeg om det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A2EFAD1-005E-4F91-AA1F-72AA996311C7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48324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21487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nb-NO" dirty="0"/>
              <a:t>Startet med en slags panikk over eksamen </a:t>
            </a:r>
          </a:p>
          <a:p>
            <a:pPr marL="171450" indent="-171450">
              <a:buFontTx/>
              <a:buChar char="-"/>
            </a:pPr>
            <a:r>
              <a:rPr lang="nb-NO" dirty="0"/>
              <a:t>blir gradvis oppmerksom på alle andre problemstillinger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63686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03458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3127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62012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nb-NO" dirty="0"/>
              <a:t>Ikke overlate dette til informatikerne. Vi trenger samfunnsvitenskapelig perspektiver på KI!</a:t>
            </a:r>
          </a:p>
          <a:p>
            <a:pPr marL="228600" indent="-228600">
              <a:buAutoNum type="arabicPeriod"/>
            </a:pPr>
            <a:r>
              <a:rPr lang="nb-NO" dirty="0"/>
              <a:t>Både bruk av verktøy (saksbehandling) og problemstillinger (</a:t>
            </a:r>
            <a:r>
              <a:rPr lang="nb-NO" dirty="0" err="1"/>
              <a:t>deepfake</a:t>
            </a:r>
            <a:r>
              <a:rPr lang="nb-NO" dirty="0"/>
              <a:t>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00969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Formativ vurderingspraksis som læringsfremmende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lærer/student tetthet som utfordr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KI som mulighet til å gi studentene mer personlig oppfølging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Tette gap, utjevne forskjeller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1788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69D9C36C-50D0-4FDB-8A40-21ED8556F5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51E5D6-78DA-494C-9DB9-9D27CF44552D}" type="datetimeFigureOut">
              <a:rPr lang="nb-NO" smtClean="0"/>
              <a:t>27.09.2023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5F8AD7DB-4ABF-4EB5-99D5-1C58A9EABA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56C65C15-2728-4562-BFA7-96A940C79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EE0858-FCFB-4BF8-AB75-D0A243C199D3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313056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39" imgH="343" progId="TCLayout.ActiveDocument.1">
                  <p:embed/>
                </p:oleObj>
              </mc:Choice>
              <mc:Fallback>
                <p:oleObj name="think-cell Slide" r:id="rId31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  <p:sldLayoutId id="2147483730" r:id="rId28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8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jp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Picture Placeholder 41" descr="A picture containing sketch, drawing, text, diagram&#10;&#10;Description automatically generated">
            <a:extLst>
              <a:ext uri="{FF2B5EF4-FFF2-40B4-BE49-F238E27FC236}">
                <a16:creationId xmlns:a16="http://schemas.microsoft.com/office/drawing/2014/main" id="{0F6115E4-19B0-1613-22E9-330B679B11D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934" r="20934"/>
          <a:stretch/>
        </p:blipFill>
        <p:spPr/>
      </p:pic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10A32630-A976-345F-8C79-69C1277A386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A2F75396-FFBC-5AC6-51CA-B4DED499C6D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2" name="Title 31">
            <a:extLst>
              <a:ext uri="{FF2B5EF4-FFF2-40B4-BE49-F238E27FC236}">
                <a16:creationId xmlns:a16="http://schemas.microsoft.com/office/drawing/2014/main" id="{C7DB8A66-C9ED-FFA2-F81C-6C3F1B4EB0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2329496"/>
          </a:xfrm>
        </p:spPr>
        <p:txBody>
          <a:bodyPr/>
          <a:lstStyle/>
          <a:p>
            <a:r>
              <a:rPr lang="nb-NO" dirty="0"/>
              <a:t>Samfunnsfag i møte med kunstig intelligens</a:t>
            </a:r>
          </a:p>
        </p:txBody>
      </p:sp>
      <p:sp>
        <p:nvSpPr>
          <p:cNvPr id="50" name="Subtitle 49">
            <a:extLst>
              <a:ext uri="{FF2B5EF4-FFF2-40B4-BE49-F238E27FC236}">
                <a16:creationId xmlns:a16="http://schemas.microsoft.com/office/drawing/2014/main" id="{B3F94BD3-96FC-CBFA-1CD2-8615A5B1C4F0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/>
              <a:t>Siri Aamodt	</a:t>
            </a:r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D614AFF2-DAA3-4566-05F3-ABF26523D27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nb-NO" dirty="0"/>
              <a:t>Koordinator for EILIN	</a:t>
            </a:r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48F600A6-360F-9055-2473-F2450EA6C08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nb-NO" dirty="0"/>
              <a:t>Universitetet i Oslo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DD1A2F43-5B20-6FEA-F208-3950F722F4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. </a:t>
            </a:r>
            <a:r>
              <a:rPr lang="en-US" dirty="0" err="1"/>
              <a:t>september</a:t>
            </a:r>
            <a:r>
              <a:rPr lang="en-US" dirty="0"/>
              <a:t> 2023</a:t>
            </a:r>
          </a:p>
        </p:txBody>
      </p:sp>
    </p:spTree>
    <p:extLst>
      <p:ext uri="{BB962C8B-B14F-4D97-AF65-F5344CB8AC3E}">
        <p14:creationId xmlns:p14="http://schemas.microsoft.com/office/powerpoint/2010/main" val="6958359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5464B04-55FD-4480-700E-FB04E63BE9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Det samfunnsvitenskapelige fakultet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968C45-FD5B-F59A-52FF-C1334806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n-US">
                <a:solidFill>
                  <a:srgbClr val="000000"/>
                </a:solidFill>
              </a:rPr>
              <a:t>Side </a:t>
            </a:r>
            <a:fld id="{5251F420-7306-4E7C-A79E-F31A38F7D392}" type="slidenum">
              <a:rPr lang="en-US" smtClean="0">
                <a:solidFill>
                  <a:srgbClr val="000000"/>
                </a:solidFill>
              </a:rPr>
              <a:pPr>
                <a:buClr>
                  <a:srgbClr val="000000"/>
                </a:buClr>
              </a:pPr>
              <a:t>10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F530470-432F-F87A-9359-AAF79D5DBB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solidFill>
                  <a:srgbClr val="000000"/>
                </a:solidFill>
              </a:rPr>
              <a:t>De vitenskapelig ansatt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A55214D-0514-DA19-2FFD-78D58D5F7A0B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26164" y="1504247"/>
            <a:ext cx="5489214" cy="4548639"/>
          </a:xfrm>
          <a:solidFill>
            <a:srgbClr val="FFFFFF"/>
          </a:solidFill>
        </p:spPr>
        <p:txBody>
          <a:bodyPr/>
          <a:lstStyle/>
          <a:p>
            <a:pPr marL="505462" indent="-342900">
              <a:buClr>
                <a:srgbClr val="000000"/>
              </a:buClr>
              <a:tabLst>
                <a:tab pos="625475" algn="l"/>
              </a:tabLst>
            </a:pPr>
            <a:r>
              <a:rPr lang="nb-NO" dirty="0">
                <a:solidFill>
                  <a:srgbClr val="000000"/>
                </a:solidFill>
              </a:rPr>
              <a:t>Hva må de vite?</a:t>
            </a:r>
          </a:p>
          <a:p>
            <a:pPr marL="505462" indent="-342900">
              <a:buClr>
                <a:srgbClr val="000000"/>
              </a:buClr>
              <a:tabLst>
                <a:tab pos="625475" algn="l"/>
              </a:tabLst>
            </a:pPr>
            <a:r>
              <a:rPr lang="nb-NO" dirty="0">
                <a:solidFill>
                  <a:srgbClr val="000000"/>
                </a:solidFill>
              </a:rPr>
              <a:t>Hva er forsvarlig bruk?</a:t>
            </a:r>
          </a:p>
          <a:p>
            <a:pPr marL="505462" indent="-342900">
              <a:buClr>
                <a:srgbClr val="000000"/>
              </a:buClr>
              <a:tabLst>
                <a:tab pos="625475" algn="l"/>
              </a:tabLst>
            </a:pPr>
            <a:r>
              <a:rPr lang="nb-NO" dirty="0">
                <a:solidFill>
                  <a:srgbClr val="000000"/>
                </a:solidFill>
              </a:rPr>
              <a:t>Kan det effektivisere arbeidet?</a:t>
            </a:r>
          </a:p>
        </p:txBody>
      </p:sp>
      <p:pic>
        <p:nvPicPr>
          <p:cNvPr id="10" name="Picture Placeholder 9" descr="Unicorn">
            <a:extLst>
              <a:ext uri="{FF2B5EF4-FFF2-40B4-BE49-F238E27FC236}">
                <a16:creationId xmlns:a16="http://schemas.microsoft.com/office/drawing/2014/main" id="{D4C127E7-0134-525C-05C0-20528AB3B594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l="11013" r="11013"/>
          <a:stretch>
            <a:fillRect/>
          </a:stretch>
        </p:blipFill>
        <p:spPr>
          <a:xfrm flipH="1">
            <a:off x="7713100" y="360045"/>
            <a:ext cx="4152736" cy="5325998"/>
          </a:xfr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ABB7A4-EA70-C5B7-0395-15366810058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endParaRPr lang="nb-NO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77407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5464B04-55FD-4480-700E-FB04E63BE9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nb-NO">
                <a:solidFill>
                  <a:srgbClr val="000000"/>
                </a:solidFill>
              </a:rPr>
              <a:t>Det samfunnsvitenskapelige fakultet</a:t>
            </a:r>
            <a:endParaRPr lang="nb-NO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968C45-FD5B-F59A-52FF-C1334806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n-US">
                <a:solidFill>
                  <a:srgbClr val="000000"/>
                </a:solidFill>
              </a:rPr>
              <a:t>Side </a:t>
            </a:r>
            <a:fld id="{5251F420-7306-4E7C-A79E-F31A38F7D392}" type="slidenum">
              <a:rPr lang="en-US" smtClean="0">
                <a:solidFill>
                  <a:srgbClr val="000000"/>
                </a:solidFill>
              </a:rPr>
              <a:pPr>
                <a:buClr>
                  <a:srgbClr val="000000"/>
                </a:buClr>
              </a:pPr>
              <a:t>11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F530470-432F-F87A-9359-AAF79D5DBB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solidFill>
                  <a:srgbClr val="000000"/>
                </a:solidFill>
              </a:rPr>
              <a:t>De vitenskapelig ansatt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A55214D-0514-DA19-2FFD-78D58D5F7A0B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3" y="1509963"/>
            <a:ext cx="7147661" cy="4548639"/>
          </a:xfrm>
          <a:solidFill>
            <a:srgbClr val="FFFFFF"/>
          </a:solidFill>
        </p:spPr>
        <p:txBody>
          <a:bodyPr/>
          <a:lstStyle/>
          <a:p>
            <a:pPr marL="505462" indent="-342900">
              <a:buClr>
                <a:srgbClr val="000000"/>
              </a:buClr>
              <a:tabLst>
                <a:tab pos="625475" algn="l"/>
              </a:tabLst>
            </a:pPr>
            <a:r>
              <a:rPr lang="nb-NO" dirty="0">
                <a:solidFill>
                  <a:srgbClr val="000000"/>
                </a:solidFill>
              </a:rPr>
              <a:t>Hva må de vite?</a:t>
            </a:r>
          </a:p>
          <a:p>
            <a:pPr marL="903296" lvl="1" indent="-342900">
              <a:buClr>
                <a:srgbClr val="000000"/>
              </a:buClr>
              <a:tabLst>
                <a:tab pos="625475" algn="l"/>
              </a:tabLst>
            </a:pPr>
            <a:r>
              <a:rPr lang="nb-NO" dirty="0">
                <a:solidFill>
                  <a:srgbClr val="000000"/>
                </a:solidFill>
              </a:rPr>
              <a:t>Om teknologien</a:t>
            </a:r>
          </a:p>
          <a:p>
            <a:pPr marL="903296" lvl="1" indent="-342900">
              <a:buClr>
                <a:srgbClr val="000000"/>
              </a:buClr>
              <a:tabLst>
                <a:tab pos="625475" algn="l"/>
              </a:tabLst>
            </a:pPr>
            <a:r>
              <a:rPr lang="nb-NO" dirty="0">
                <a:solidFill>
                  <a:srgbClr val="000000"/>
                </a:solidFill>
              </a:rPr>
              <a:t>Om pedagogiske utfordringer/muligheter</a:t>
            </a:r>
          </a:p>
          <a:p>
            <a:pPr marL="903296" lvl="1" indent="-342900">
              <a:buClr>
                <a:srgbClr val="000000"/>
              </a:buClr>
              <a:tabLst>
                <a:tab pos="625475" algn="l"/>
              </a:tabLst>
            </a:pPr>
            <a:r>
              <a:rPr lang="nb-NO" dirty="0">
                <a:solidFill>
                  <a:srgbClr val="000000"/>
                </a:solidFill>
              </a:rPr>
              <a:t>Om betydning for fagområdet</a:t>
            </a:r>
          </a:p>
          <a:p>
            <a:pPr marL="505462" indent="-342900">
              <a:buClr>
                <a:srgbClr val="000000"/>
              </a:buClr>
              <a:tabLst>
                <a:tab pos="625475" algn="l"/>
              </a:tabLst>
            </a:pPr>
            <a:r>
              <a:rPr lang="nb-NO" dirty="0">
                <a:solidFill>
                  <a:srgbClr val="000000"/>
                </a:solidFill>
              </a:rPr>
              <a:t>Hva er forsvarlig bruk?</a:t>
            </a:r>
          </a:p>
          <a:p>
            <a:pPr marL="505462" indent="-342900">
              <a:buClr>
                <a:srgbClr val="000000"/>
              </a:buClr>
              <a:tabLst>
                <a:tab pos="625475" algn="l"/>
              </a:tabLst>
            </a:pPr>
            <a:r>
              <a:rPr lang="nb-NO" dirty="0">
                <a:solidFill>
                  <a:srgbClr val="000000"/>
                </a:solidFill>
              </a:rPr>
              <a:t>Kan det effektivisere arbeidet?</a:t>
            </a:r>
          </a:p>
        </p:txBody>
      </p:sp>
      <p:pic>
        <p:nvPicPr>
          <p:cNvPr id="10" name="Picture Placeholder 9" descr="Unicorn">
            <a:extLst>
              <a:ext uri="{FF2B5EF4-FFF2-40B4-BE49-F238E27FC236}">
                <a16:creationId xmlns:a16="http://schemas.microsoft.com/office/drawing/2014/main" id="{D4C127E7-0134-525C-05C0-20528AB3B594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013" r="11013"/>
          <a:stretch>
            <a:fillRect/>
          </a:stretch>
        </p:blipFill>
        <p:spPr>
          <a:xfrm flipH="1">
            <a:off x="7713100" y="360045"/>
            <a:ext cx="4152736" cy="5325998"/>
          </a:xfr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ABB7A4-EA70-C5B7-0395-15366810058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endParaRPr lang="nb-NO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9651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5464B04-55FD-4480-700E-FB04E63BE9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nb-NO">
                <a:solidFill>
                  <a:srgbClr val="000000"/>
                </a:solidFill>
              </a:rPr>
              <a:t>Det samfunnsvitenskapelige fakultet</a:t>
            </a:r>
            <a:endParaRPr lang="nb-NO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968C45-FD5B-F59A-52FF-C1334806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n-US">
                <a:solidFill>
                  <a:srgbClr val="000000"/>
                </a:solidFill>
              </a:rPr>
              <a:t>Side </a:t>
            </a:r>
            <a:fld id="{5251F420-7306-4E7C-A79E-F31A38F7D392}" type="slidenum">
              <a:rPr lang="en-US" smtClean="0">
                <a:solidFill>
                  <a:srgbClr val="000000"/>
                </a:solidFill>
              </a:rPr>
              <a:pPr>
                <a:buClr>
                  <a:srgbClr val="000000"/>
                </a:buClr>
              </a:pPr>
              <a:t>1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F530470-432F-F87A-9359-AAF79D5DBB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solidFill>
                  <a:srgbClr val="000000"/>
                </a:solidFill>
              </a:rPr>
              <a:t>De vitenskapelig ansatt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A55214D-0514-DA19-2FFD-78D58D5F7A0B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426217" y="1473633"/>
            <a:ext cx="7159693" cy="4548639"/>
          </a:xfrm>
          <a:solidFill>
            <a:srgbClr val="FFFFFF"/>
          </a:solidFill>
        </p:spPr>
        <p:txBody>
          <a:bodyPr/>
          <a:lstStyle/>
          <a:p>
            <a:pPr marL="505462" indent="-342900">
              <a:buClr>
                <a:srgbClr val="000000"/>
              </a:buClr>
              <a:tabLst>
                <a:tab pos="625475" algn="l"/>
              </a:tabLst>
            </a:pPr>
            <a:r>
              <a:rPr lang="nb-NO" dirty="0">
                <a:solidFill>
                  <a:srgbClr val="000000"/>
                </a:solidFill>
              </a:rPr>
              <a:t>Hva må de vite?</a:t>
            </a:r>
          </a:p>
          <a:p>
            <a:pPr marL="505462" indent="-342900">
              <a:buClr>
                <a:srgbClr val="000000"/>
              </a:buClr>
              <a:tabLst>
                <a:tab pos="625475" algn="l"/>
              </a:tabLst>
            </a:pPr>
            <a:r>
              <a:rPr lang="nb-NO" dirty="0">
                <a:solidFill>
                  <a:srgbClr val="000000"/>
                </a:solidFill>
              </a:rPr>
              <a:t>Hva er forsvarlig bruk?</a:t>
            </a:r>
          </a:p>
          <a:p>
            <a:pPr marL="903296" lvl="1" indent="-342900">
              <a:buClr>
                <a:srgbClr val="000000"/>
              </a:buClr>
              <a:tabLst>
                <a:tab pos="625475" algn="l"/>
              </a:tabLst>
            </a:pPr>
            <a:r>
              <a:rPr lang="nb-NO" dirty="0">
                <a:solidFill>
                  <a:srgbClr val="000000"/>
                </a:solidFill>
              </a:rPr>
              <a:t>Juss: Personvern, datalagring, opphavsrett</a:t>
            </a:r>
          </a:p>
          <a:p>
            <a:pPr marL="903296" lvl="1" indent="-342900">
              <a:buClr>
                <a:srgbClr val="000000"/>
              </a:buClr>
              <a:tabLst>
                <a:tab pos="625475" algn="l"/>
              </a:tabLst>
            </a:pPr>
            <a:r>
              <a:rPr lang="nb-NO" dirty="0">
                <a:solidFill>
                  <a:srgbClr val="000000"/>
                </a:solidFill>
              </a:rPr>
              <a:t>Etikk: </a:t>
            </a:r>
            <a:r>
              <a:rPr lang="nb-NO" b="0" i="1" dirty="0">
                <a:solidFill>
                  <a:srgbClr val="000000"/>
                </a:solidFill>
                <a:effectLst/>
                <a:latin typeface="PT Sans" panose="020B0604020202020204" pitchFamily="34" charset="0"/>
              </a:rPr>
              <a:t>Forskningens materiale og resultater bør gjøres tilgjengelig for andre så åpent som mulig, for å legge til rette for læring, etterprøving og kritikk.</a:t>
            </a:r>
            <a:endParaRPr lang="nb-NO" dirty="0">
              <a:solidFill>
                <a:srgbClr val="000000"/>
              </a:solidFill>
            </a:endParaRPr>
          </a:p>
          <a:p>
            <a:pPr marL="505462" indent="-342900">
              <a:buClr>
                <a:srgbClr val="000000"/>
              </a:buClr>
              <a:tabLst>
                <a:tab pos="625475" algn="l"/>
              </a:tabLst>
            </a:pPr>
            <a:r>
              <a:rPr lang="nb-NO" dirty="0">
                <a:solidFill>
                  <a:srgbClr val="000000"/>
                </a:solidFill>
              </a:rPr>
              <a:t>Kan det effektivisere arbeidet?</a:t>
            </a:r>
          </a:p>
        </p:txBody>
      </p:sp>
      <p:pic>
        <p:nvPicPr>
          <p:cNvPr id="10" name="Picture Placeholder 9" descr="Unicorn">
            <a:extLst>
              <a:ext uri="{FF2B5EF4-FFF2-40B4-BE49-F238E27FC236}">
                <a16:creationId xmlns:a16="http://schemas.microsoft.com/office/drawing/2014/main" id="{D4C127E7-0134-525C-05C0-20528AB3B594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013" r="11013"/>
          <a:stretch>
            <a:fillRect/>
          </a:stretch>
        </p:blipFill>
        <p:spPr>
          <a:xfrm flipH="1">
            <a:off x="7713100" y="360045"/>
            <a:ext cx="4152736" cy="5325998"/>
          </a:xfr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ABB7A4-EA70-C5B7-0395-15366810058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endParaRPr lang="nb-NO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46086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5464B04-55FD-4480-700E-FB04E63BE9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nb-NO">
                <a:solidFill>
                  <a:srgbClr val="000000"/>
                </a:solidFill>
              </a:rPr>
              <a:t>Det samfunnsvitenskapelige fakultet</a:t>
            </a:r>
            <a:endParaRPr lang="nb-NO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968C45-FD5B-F59A-52FF-C1334806F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n-US">
                <a:solidFill>
                  <a:srgbClr val="000000"/>
                </a:solidFill>
              </a:rPr>
              <a:t>Side </a:t>
            </a:r>
            <a:fld id="{5251F420-7306-4E7C-A79E-F31A38F7D392}" type="slidenum">
              <a:rPr lang="en-US" smtClean="0">
                <a:solidFill>
                  <a:srgbClr val="000000"/>
                </a:solidFill>
              </a:rPr>
              <a:pPr>
                <a:buClr>
                  <a:srgbClr val="000000"/>
                </a:buClr>
              </a:pPr>
              <a:t>1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F530470-432F-F87A-9359-AAF79D5DBB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solidFill>
                  <a:srgbClr val="000000"/>
                </a:solidFill>
              </a:rPr>
              <a:t>De vitenskapelig ansatt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A55214D-0514-DA19-2FFD-78D58D5F7A0B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509963"/>
            <a:ext cx="7187168" cy="4548639"/>
          </a:xfrm>
          <a:solidFill>
            <a:srgbClr val="FFFFFF"/>
          </a:solidFill>
        </p:spPr>
        <p:txBody>
          <a:bodyPr/>
          <a:lstStyle/>
          <a:p>
            <a:pPr marL="505462" indent="-342900">
              <a:buClr>
                <a:srgbClr val="000000"/>
              </a:buClr>
              <a:tabLst>
                <a:tab pos="625475" algn="l"/>
              </a:tabLst>
            </a:pPr>
            <a:r>
              <a:rPr lang="nb-NO" dirty="0">
                <a:solidFill>
                  <a:srgbClr val="000000"/>
                </a:solidFill>
              </a:rPr>
              <a:t>Hva må de vite?</a:t>
            </a:r>
          </a:p>
          <a:p>
            <a:pPr marL="505462" indent="-342900">
              <a:buClr>
                <a:srgbClr val="000000"/>
              </a:buClr>
              <a:tabLst>
                <a:tab pos="625475" algn="l"/>
              </a:tabLst>
            </a:pPr>
            <a:r>
              <a:rPr lang="nb-NO" dirty="0">
                <a:solidFill>
                  <a:srgbClr val="000000"/>
                </a:solidFill>
              </a:rPr>
              <a:t>Hva er forsvarlig bruk?</a:t>
            </a:r>
          </a:p>
          <a:p>
            <a:pPr marL="505462" indent="-342900">
              <a:buClr>
                <a:srgbClr val="000000"/>
              </a:buClr>
              <a:tabLst>
                <a:tab pos="625475" algn="l"/>
              </a:tabLst>
            </a:pPr>
            <a:r>
              <a:rPr lang="nb-NO" dirty="0">
                <a:solidFill>
                  <a:srgbClr val="000000"/>
                </a:solidFill>
              </a:rPr>
              <a:t>Kan det effektivisere arbeidet?</a:t>
            </a:r>
          </a:p>
          <a:p>
            <a:pPr marL="903296" lvl="1" indent="-342900">
              <a:buClr>
                <a:srgbClr val="000000"/>
              </a:buClr>
              <a:tabLst>
                <a:tab pos="625475" algn="l"/>
              </a:tabLst>
            </a:pPr>
            <a:r>
              <a:rPr lang="nb-NO" dirty="0">
                <a:solidFill>
                  <a:srgbClr val="000000"/>
                </a:solidFill>
              </a:rPr>
              <a:t>Automatisere tilbakemeldinger/begrunnelser?</a:t>
            </a:r>
          </a:p>
          <a:p>
            <a:pPr marL="903296" lvl="1" indent="-342900">
              <a:buClr>
                <a:srgbClr val="000000"/>
              </a:buClr>
              <a:tabLst>
                <a:tab pos="625475" algn="l"/>
              </a:tabLst>
            </a:pPr>
            <a:r>
              <a:rPr lang="nb-NO" dirty="0">
                <a:solidFill>
                  <a:srgbClr val="000000"/>
                </a:solidFill>
              </a:rPr>
              <a:t>Lage eksamensoppgaver?</a:t>
            </a:r>
          </a:p>
          <a:p>
            <a:pPr marL="903296" lvl="1" indent="-342900">
              <a:buClr>
                <a:srgbClr val="000000"/>
              </a:buClr>
              <a:tabLst>
                <a:tab pos="625475" algn="l"/>
              </a:tabLst>
            </a:pPr>
            <a:r>
              <a:rPr lang="nb-NO" dirty="0">
                <a:solidFill>
                  <a:srgbClr val="000000"/>
                </a:solidFill>
              </a:rPr>
              <a:t>Lage case/simuleringer?</a:t>
            </a:r>
          </a:p>
          <a:p>
            <a:pPr marL="903296" lvl="1" indent="-342900">
              <a:buClr>
                <a:srgbClr val="000000"/>
              </a:buClr>
              <a:tabLst>
                <a:tab pos="625475" algn="l"/>
              </a:tabLst>
            </a:pPr>
            <a:r>
              <a:rPr lang="nb-NO" dirty="0">
                <a:solidFill>
                  <a:srgbClr val="000000"/>
                </a:solidFill>
              </a:rPr>
              <a:t>Plagiatkontroll?</a:t>
            </a:r>
          </a:p>
          <a:p>
            <a:pPr marL="903296" lvl="1" indent="-342900">
              <a:buClr>
                <a:srgbClr val="000000"/>
              </a:buClr>
              <a:tabLst>
                <a:tab pos="625475" algn="l"/>
              </a:tabLst>
            </a:pPr>
            <a:r>
              <a:rPr lang="nb-NO" dirty="0">
                <a:solidFill>
                  <a:srgbClr val="000000"/>
                </a:solidFill>
              </a:rPr>
              <a:t>Virtuell vit. ass.?</a:t>
            </a:r>
          </a:p>
          <a:p>
            <a:pPr marL="903296" lvl="1" indent="-342900">
              <a:buClr>
                <a:srgbClr val="000000"/>
              </a:buClr>
              <a:tabLst>
                <a:tab pos="625475" algn="l"/>
              </a:tabLst>
            </a:pPr>
            <a:r>
              <a:rPr lang="nb-NO" dirty="0">
                <a:solidFill>
                  <a:srgbClr val="000000"/>
                </a:solidFill>
              </a:rPr>
              <a:t>Lage presentasjoner?</a:t>
            </a:r>
          </a:p>
          <a:p>
            <a:pPr marL="560396" lvl="1" indent="0">
              <a:buClr>
                <a:srgbClr val="000000"/>
              </a:buClr>
              <a:buNone/>
              <a:tabLst>
                <a:tab pos="625475" algn="l"/>
              </a:tabLst>
            </a:pPr>
            <a:endParaRPr lang="nb-NO" dirty="0">
              <a:solidFill>
                <a:srgbClr val="000000"/>
              </a:solidFill>
            </a:endParaRPr>
          </a:p>
        </p:txBody>
      </p:sp>
      <p:pic>
        <p:nvPicPr>
          <p:cNvPr id="10" name="Picture Placeholder 9" descr="Unicorn">
            <a:extLst>
              <a:ext uri="{FF2B5EF4-FFF2-40B4-BE49-F238E27FC236}">
                <a16:creationId xmlns:a16="http://schemas.microsoft.com/office/drawing/2014/main" id="{D4C127E7-0134-525C-05C0-20528AB3B594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013" r="11013"/>
          <a:stretch>
            <a:fillRect/>
          </a:stretch>
        </p:blipFill>
        <p:spPr>
          <a:xfrm flipH="1">
            <a:off x="7713100" y="360045"/>
            <a:ext cx="4152736" cy="5325998"/>
          </a:xfr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FABB7A4-EA70-C5B7-0395-15366810058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endParaRPr lang="nb-NO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1720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3550ABE-E56F-FA6B-8755-DE92064F10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/>
              <a:t>Det samfunnsvitenskapelige fakultet</a:t>
            </a:r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024F429-E058-61D5-D4F9-1E997C6637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A70B2C5-462E-A2C6-B74F-61247A8AD9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2138"/>
            <a:ext cx="5489214" cy="542658"/>
          </a:xfrm>
        </p:spPr>
        <p:txBody>
          <a:bodyPr/>
          <a:lstStyle/>
          <a:p>
            <a:r>
              <a:rPr lang="nb-NO" dirty="0"/>
              <a:t>Administrasjone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42788F1-6DB8-EC39-0CD6-8B7C28CC470C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160061"/>
            <a:ext cx="7050690" cy="489854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Behov for kompetanseheving og støtte for administrasjonen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Behov for nye arbeidsoppgaver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Kan arbeidet effektiviseres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Bortfall av arbeidsoppgaver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dirty="0"/>
          </a:p>
        </p:txBody>
      </p:sp>
      <p:pic>
        <p:nvPicPr>
          <p:cNvPr id="10" name="Picture Placeholder 9" descr="A cartoon of a person with many hands&#10;&#10;Description automatically generated with medium confidence">
            <a:extLst>
              <a:ext uri="{FF2B5EF4-FFF2-40B4-BE49-F238E27FC236}">
                <a16:creationId xmlns:a16="http://schemas.microsoft.com/office/drawing/2014/main" id="{F3046006-56F6-412F-2BDA-A909B8B6AEE6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13" r="11013"/>
          <a:stretch>
            <a:fillRect/>
          </a:stretch>
        </p:blipFill>
        <p:spPr/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9999079-F714-6C41-51D9-78B5A9BDCF0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767363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03B87DE-549A-359E-76DB-0518D6B7C9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/>
              <a:t>Det samfunnsvitenskapelige fakultet</a:t>
            </a:r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849DBDC-C8D8-77B9-C3D7-8B3E33C70A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B9BEB69-A2DF-8A93-65E3-A430088E07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3" y="360045"/>
            <a:ext cx="6695849" cy="542658"/>
          </a:xfrm>
        </p:spPr>
        <p:txBody>
          <a:bodyPr/>
          <a:lstStyle/>
          <a:p>
            <a:r>
              <a:rPr lang="nb-NO" dirty="0"/>
              <a:t>Universitetene og høyskolen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3617C4B-312D-6DE3-5FB1-37561B42F0FC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166884"/>
            <a:ext cx="6818678" cy="4891719"/>
          </a:xfrm>
        </p:spPr>
        <p:txBody>
          <a:bodyPr/>
          <a:lstStyle/>
          <a:p>
            <a:r>
              <a:rPr lang="nb-NO" dirty="0"/>
              <a:t>Hvilke felles overordnede føringer trenger vi?</a:t>
            </a:r>
          </a:p>
          <a:p>
            <a:r>
              <a:rPr lang="nb-NO" dirty="0"/>
              <a:t>Hva bestemmes av institusjonene?</a:t>
            </a:r>
          </a:p>
          <a:p>
            <a:r>
              <a:rPr lang="nb-NO" dirty="0"/>
              <a:t>Hva bestemmes av fagmiljøene? </a:t>
            </a:r>
          </a:p>
          <a:p>
            <a:r>
              <a:rPr lang="nb-NO" dirty="0"/>
              <a:t>Hvor skal hva slags kompetanse sitte?</a:t>
            </a:r>
          </a:p>
          <a:p>
            <a:pPr marL="0" indent="0">
              <a:buNone/>
            </a:pPr>
            <a:endParaRPr lang="nb-NO" dirty="0"/>
          </a:p>
        </p:txBody>
      </p:sp>
      <p:pic>
        <p:nvPicPr>
          <p:cNvPr id="10" name="Picture Placeholder 9" descr="A picture containing transport, watercraft, sky, water&#10;&#10;Description automatically generated">
            <a:extLst>
              <a:ext uri="{FF2B5EF4-FFF2-40B4-BE49-F238E27FC236}">
                <a16:creationId xmlns:a16="http://schemas.microsoft.com/office/drawing/2014/main" id="{9EE6B4DF-F5DA-8589-9D97-42596F4FB8DD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09" r="24009"/>
          <a:stretch>
            <a:fillRect/>
          </a:stretch>
        </p:blipFill>
        <p:spPr/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C7FD87-42DF-C9EB-3100-83E3F4EF4EA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45243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03B87DE-549A-359E-76DB-0518D6B7C9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/>
              <a:t>Det samfunnsvitenskapelige fakultet</a:t>
            </a:r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849DBDC-C8D8-77B9-C3D7-8B3E33C70A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B9BEB69-A2DF-8A93-65E3-A430088E07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3" y="360045"/>
            <a:ext cx="6695849" cy="542658"/>
          </a:xfrm>
        </p:spPr>
        <p:txBody>
          <a:bodyPr/>
          <a:lstStyle/>
          <a:p>
            <a:r>
              <a:rPr lang="nb-NO" dirty="0"/>
              <a:t>Universitetene og høyskolen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3617C4B-312D-6DE3-5FB1-37561B42F0FC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2" y="1161167"/>
            <a:ext cx="7240079" cy="4891719"/>
          </a:xfrm>
        </p:spPr>
        <p:txBody>
          <a:bodyPr/>
          <a:lstStyle/>
          <a:p>
            <a:pPr marL="0" indent="0">
              <a:buNone/>
            </a:pPr>
            <a:r>
              <a:rPr lang="nb-NO" dirty="0"/>
              <a:t>Behov for:</a:t>
            </a:r>
          </a:p>
          <a:p>
            <a:r>
              <a:rPr lang="nb-NO" dirty="0"/>
              <a:t>Juridiske retningslinjer for bruk</a:t>
            </a:r>
          </a:p>
          <a:p>
            <a:pPr lvl="1"/>
            <a:r>
              <a:rPr lang="nb-NO" dirty="0"/>
              <a:t>For studenter</a:t>
            </a:r>
          </a:p>
          <a:p>
            <a:pPr lvl="1"/>
            <a:r>
              <a:rPr lang="nb-NO" dirty="0"/>
              <a:t>For ansatte </a:t>
            </a:r>
          </a:p>
          <a:p>
            <a:r>
              <a:rPr lang="nb-NO" dirty="0"/>
              <a:t>(forsknings)etiske prinsipper</a:t>
            </a:r>
          </a:p>
          <a:p>
            <a:r>
              <a:rPr lang="nb-NO" dirty="0"/>
              <a:t>Bedre kunnskapsgrunnlag: </a:t>
            </a:r>
          </a:p>
          <a:p>
            <a:pPr lvl="1"/>
            <a:r>
              <a:rPr lang="nb-NO" dirty="0"/>
              <a:t>arenaer for dialog og erfaringsutveksling – både om problemer og løsninger</a:t>
            </a:r>
          </a:p>
          <a:p>
            <a:pPr lvl="1"/>
            <a:r>
              <a:rPr lang="nb-NO" dirty="0"/>
              <a:t>Prosjekter som frembringer empiri</a:t>
            </a:r>
          </a:p>
          <a:p>
            <a:r>
              <a:rPr lang="nb-NO" dirty="0"/>
              <a:t>AI i samfunnsvitenskap: hva er særegent for våre fag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 dirty="0"/>
          </a:p>
        </p:txBody>
      </p:sp>
      <p:pic>
        <p:nvPicPr>
          <p:cNvPr id="10" name="Picture Placeholder 9" descr="A picture containing transport, watercraft, sky, water&#10;&#10;Description automatically generated">
            <a:extLst>
              <a:ext uri="{FF2B5EF4-FFF2-40B4-BE49-F238E27FC236}">
                <a16:creationId xmlns:a16="http://schemas.microsoft.com/office/drawing/2014/main" id="{9EE6B4DF-F5DA-8589-9D97-42596F4FB8DD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09" r="24009"/>
          <a:stretch>
            <a:fillRect/>
          </a:stretch>
        </p:blipFill>
        <p:spPr/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C7FD87-42DF-C9EB-3100-83E3F4EF4EA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78472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Text&#10;&#10;Description automatically generated">
            <a:extLst>
              <a:ext uri="{FF2B5EF4-FFF2-40B4-BE49-F238E27FC236}">
                <a16:creationId xmlns:a16="http://schemas.microsoft.com/office/drawing/2014/main" id="{E8A610FD-8298-4D7F-A9BD-2B6A2AB43963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469" y="106569"/>
            <a:ext cx="3719840" cy="2845014"/>
          </a:xfrm>
        </p:spPr>
      </p:pic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874D723F-5081-4B68-A288-053DFE9842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5664" y="3835602"/>
            <a:ext cx="5365561" cy="107516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152C20C-0293-4B15-8337-038D6E22679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3546" y="3223234"/>
            <a:ext cx="4289657" cy="37170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6DC09B6-84DD-4F7F-B1B9-F04CBFCAC7FA}"/>
              </a:ext>
            </a:extLst>
          </p:cNvPr>
          <p:cNvSpPr txBox="1"/>
          <p:nvPr/>
        </p:nvSpPr>
        <p:spPr>
          <a:xfrm>
            <a:off x="4103546" y="154694"/>
            <a:ext cx="3808201" cy="2982227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 «(…)fokuset på forelesningsopptak er snevert og hindrer en bredere tenkning omkring hvordan vi kan jobbe med pedagogiske design der fysiske og digitale elementer inngår i en helhet. Slike pedagogiske design har betydelig potensial til å gi teknologiene en passende plass – og kan bidra til å åpne opp for pedagogiske muligheter.» 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	Stensaker og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Damşa</a:t>
            </a: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i 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Khrono</a:t>
            </a: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 descr="A picture containing text, indoor, screenshot&#10;&#10;Description automatically generated">
            <a:extLst>
              <a:ext uri="{FF2B5EF4-FFF2-40B4-BE49-F238E27FC236}">
                <a16:creationId xmlns:a16="http://schemas.microsoft.com/office/drawing/2014/main" id="{67FFEC16-8599-4BB9-976E-0FC6A7C611A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469" y="3088796"/>
            <a:ext cx="3701046" cy="3508283"/>
          </a:xfrm>
          <a:prstGeom prst="rect">
            <a:avLst/>
          </a:prstGeom>
        </p:spPr>
      </p:pic>
      <p:pic>
        <p:nvPicPr>
          <p:cNvPr id="3" name="Picture 2" descr="Text&#10;&#10;Description automatically generated">
            <a:extLst>
              <a:ext uri="{FF2B5EF4-FFF2-40B4-BE49-F238E27FC236}">
                <a16:creationId xmlns:a16="http://schemas.microsoft.com/office/drawing/2014/main" id="{8C62B5E0-5118-443D-9A9B-24B01602CA2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5109" y="5077470"/>
            <a:ext cx="5676187" cy="1519609"/>
          </a:xfrm>
          <a:prstGeom prst="rect">
            <a:avLst/>
          </a:prstGeom>
        </p:spPr>
      </p:pic>
      <p:pic>
        <p:nvPicPr>
          <p:cNvPr id="6" name="Picture 5" descr="A person smiling for the camera&#10;&#10;Description automatically generated with medium confidence">
            <a:extLst>
              <a:ext uri="{FF2B5EF4-FFF2-40B4-BE49-F238E27FC236}">
                <a16:creationId xmlns:a16="http://schemas.microsoft.com/office/drawing/2014/main" id="{01ADC62D-EB2D-42DB-AC57-AF2BF740EC6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191" y="106569"/>
            <a:ext cx="3312340" cy="35082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6693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03B87DE-549A-359E-76DB-0518D6B7C9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/>
              <a:t>Det samfunnsvitenskapelige fakultet</a:t>
            </a:r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849DBDC-C8D8-77B9-C3D7-8B3E33C70A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B9BEB69-A2DF-8A93-65E3-A430088E07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3" y="360045"/>
            <a:ext cx="6695849" cy="542658"/>
          </a:xfrm>
        </p:spPr>
        <p:txBody>
          <a:bodyPr/>
          <a:lstStyle/>
          <a:p>
            <a:r>
              <a:rPr lang="nb-NO" dirty="0"/>
              <a:t>AI sjokket våren 2023</a:t>
            </a:r>
          </a:p>
        </p:txBody>
      </p:sp>
      <p:pic>
        <p:nvPicPr>
          <p:cNvPr id="10" name="Picture Placeholder 9" descr="A picture containing transport, watercraft, sky, water&#10;&#10;Description automatically generated">
            <a:extLst>
              <a:ext uri="{FF2B5EF4-FFF2-40B4-BE49-F238E27FC236}">
                <a16:creationId xmlns:a16="http://schemas.microsoft.com/office/drawing/2014/main" id="{9EE6B4DF-F5DA-8589-9D97-42596F4FB8DD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09" r="24009"/>
          <a:stretch>
            <a:fillRect/>
          </a:stretch>
        </p:blipFill>
        <p:spPr/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3C7FD87-42DF-C9EB-3100-83E3F4EF4EA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9" name="Picture 8" descr="A person in a yellow sweater&#10;&#10;Description automatically generated with medium confidence">
            <a:extLst>
              <a:ext uri="{FF2B5EF4-FFF2-40B4-BE49-F238E27FC236}">
                <a16:creationId xmlns:a16="http://schemas.microsoft.com/office/drawing/2014/main" id="{778DF02D-5756-061C-6289-35693476084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43610" y="1650161"/>
            <a:ext cx="3018206" cy="2745766"/>
          </a:xfrm>
          <a:prstGeom prst="rect">
            <a:avLst/>
          </a:prstGeom>
        </p:spPr>
      </p:pic>
      <p:pic>
        <p:nvPicPr>
          <p:cNvPr id="11" name="Picture 10" descr="A black text on a white background&#10;&#10;Description automatically generated with medium confidence">
            <a:extLst>
              <a:ext uri="{FF2B5EF4-FFF2-40B4-BE49-F238E27FC236}">
                <a16:creationId xmlns:a16="http://schemas.microsoft.com/office/drawing/2014/main" id="{27723FC5-4408-3B39-68D6-EDF2CE79398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43" y="3279505"/>
            <a:ext cx="3783567" cy="1252789"/>
          </a:xfrm>
          <a:prstGeom prst="rect">
            <a:avLst/>
          </a:prstGeom>
        </p:spPr>
      </p:pic>
      <p:pic>
        <p:nvPicPr>
          <p:cNvPr id="12" name="Picture 11" descr="A picture containing text, human face, computer, screenshot&#10;&#10;Description automatically generated">
            <a:extLst>
              <a:ext uri="{FF2B5EF4-FFF2-40B4-BE49-F238E27FC236}">
                <a16:creationId xmlns:a16="http://schemas.microsoft.com/office/drawing/2014/main" id="{D1E7C4C7-EEB3-2279-E0D1-F2FDC48EBC1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0439"/>
          <a:stretch/>
        </p:blipFill>
        <p:spPr>
          <a:xfrm>
            <a:off x="7280465" y="3719581"/>
            <a:ext cx="4285636" cy="2242001"/>
          </a:xfrm>
          <a:prstGeom prst="rect">
            <a:avLst/>
          </a:prstGeom>
        </p:spPr>
      </p:pic>
      <p:pic>
        <p:nvPicPr>
          <p:cNvPr id="13" name="Picture 12" descr="A screenshot of a red and black website&#10;&#10;Description automatically generated with low confidence">
            <a:extLst>
              <a:ext uri="{FF2B5EF4-FFF2-40B4-BE49-F238E27FC236}">
                <a16:creationId xmlns:a16="http://schemas.microsoft.com/office/drawing/2014/main" id="{F2378218-B01A-C2D0-C5CC-6392DB38F23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43" y="1013960"/>
            <a:ext cx="3775353" cy="2027810"/>
          </a:xfrm>
          <a:prstGeom prst="rect">
            <a:avLst/>
          </a:prstGeom>
        </p:spPr>
      </p:pic>
      <p:pic>
        <p:nvPicPr>
          <p:cNvPr id="6" name="Picture 5" descr="A black text on a white background&#10;&#10;Description automatically generated with low confidence">
            <a:extLst>
              <a:ext uri="{FF2B5EF4-FFF2-40B4-BE49-F238E27FC236}">
                <a16:creationId xmlns:a16="http://schemas.microsoft.com/office/drawing/2014/main" id="{4904D702-E473-D1FA-5576-5D238194862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1414" y="4530832"/>
            <a:ext cx="5089770" cy="1868573"/>
          </a:xfrm>
          <a:prstGeom prst="rect">
            <a:avLst/>
          </a:prstGeom>
        </p:spPr>
      </p:pic>
      <p:pic>
        <p:nvPicPr>
          <p:cNvPr id="14" name="Picture 13" descr="A picture containing text, font, screenshot&#10;&#10;Description automatically generated">
            <a:extLst>
              <a:ext uri="{FF2B5EF4-FFF2-40B4-BE49-F238E27FC236}">
                <a16:creationId xmlns:a16="http://schemas.microsoft.com/office/drawing/2014/main" id="{422B257E-28F1-CE2E-32E5-D8F4A4490B9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55892" y="333095"/>
            <a:ext cx="4996806" cy="1994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43166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674A9EB-7CA3-7AD6-A508-94E69C6B54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nb-NO">
                <a:solidFill>
                  <a:srgbClr val="000000"/>
                </a:solidFill>
              </a:rPr>
              <a:t>Det samfunnsvitenskapelige fakultet</a:t>
            </a:r>
            <a:endParaRPr lang="nb-NO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FFA28BA-B1DC-FA90-FDD6-EAB4F1990D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n-US">
                <a:solidFill>
                  <a:srgbClr val="000000"/>
                </a:solidFill>
              </a:rPr>
              <a:t>Side </a:t>
            </a:r>
            <a:fld id="{5251F420-7306-4E7C-A79E-F31A38F7D392}" type="slidenum">
              <a:rPr lang="en-US" smtClean="0">
                <a:solidFill>
                  <a:srgbClr val="000000"/>
                </a:solidFill>
              </a:rPr>
              <a:pPr>
                <a:buClr>
                  <a:srgbClr val="000000"/>
                </a:buClr>
              </a:pPr>
              <a:t>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C56D72C-140D-86DB-FE73-74FBD9B693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solidFill>
                  <a:srgbClr val="000000"/>
                </a:solidFill>
              </a:rPr>
              <a:t>Tidslinje ved SV-fakultetet </a:t>
            </a:r>
          </a:p>
        </p:txBody>
      </p:sp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FD189413-58D6-466D-C710-D694B286DB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22236876"/>
              </p:ext>
            </p:extLst>
          </p:nvPr>
        </p:nvGraphicFramePr>
        <p:xfrm>
          <a:off x="360044" y="719667"/>
          <a:ext cx="11505792" cy="52600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20570844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FBA43D-A924-F66E-46F2-16795E0C1B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nb-NO">
                <a:solidFill>
                  <a:srgbClr val="000000"/>
                </a:solidFill>
              </a:rPr>
              <a:t>Det samfunnsvitenskapelige fakultet</a:t>
            </a:r>
            <a:endParaRPr lang="nb-NO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495282-D079-274C-6B40-4F1693B7E2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n-US">
                <a:solidFill>
                  <a:srgbClr val="000000"/>
                </a:solidFill>
              </a:rPr>
              <a:t>Side </a:t>
            </a:r>
            <a:fld id="{5251F420-7306-4E7C-A79E-F31A38F7D392}" type="slidenum">
              <a:rPr lang="en-US" smtClean="0">
                <a:solidFill>
                  <a:srgbClr val="000000"/>
                </a:solidFill>
              </a:rPr>
              <a:pPr>
                <a:buClr>
                  <a:srgbClr val="000000"/>
                </a:buClr>
              </a:pPr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54C9E4-9B5F-D20D-60C7-0B219FDC1F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solidFill>
                  <a:srgbClr val="000000"/>
                </a:solidFill>
              </a:rPr>
              <a:t>Studenten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A6E8A0B-3D04-D333-2E1A-C9445E12E26B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251285"/>
            <a:ext cx="5489214" cy="4807318"/>
          </a:xfrm>
          <a:solidFill>
            <a:srgbClr val="FFFFFF"/>
          </a:solidFill>
        </p:spPr>
        <p:txBody>
          <a:bodyPr/>
          <a:lstStyle/>
          <a:p>
            <a:pPr marL="505462" indent="-342900"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Hvordan bruker de KI?</a:t>
            </a:r>
          </a:p>
          <a:p>
            <a:pPr marL="505462" indent="-342900"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Hva er lov?</a:t>
            </a:r>
          </a:p>
          <a:p>
            <a:pPr marL="505462" indent="-342900"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Hva skal de lære?</a:t>
            </a:r>
          </a:p>
          <a:p>
            <a:pPr marL="505462" indent="-342900"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Hvordan skal de lære?</a:t>
            </a:r>
          </a:p>
          <a:p>
            <a:pPr marL="0" indent="0">
              <a:buClr>
                <a:srgbClr val="000000"/>
              </a:buClr>
              <a:buNone/>
            </a:pPr>
            <a:endParaRPr lang="nb-NO" dirty="0">
              <a:solidFill>
                <a:srgbClr val="000000"/>
              </a:solidFill>
            </a:endParaRPr>
          </a:p>
        </p:txBody>
      </p:sp>
      <p:pic>
        <p:nvPicPr>
          <p:cNvPr id="13" name="Picture Placeholder 12" descr="A group of cats looking at the camera&#10;&#10;Description automatically generated with medium confidence">
            <a:extLst>
              <a:ext uri="{FF2B5EF4-FFF2-40B4-BE49-F238E27FC236}">
                <a16:creationId xmlns:a16="http://schemas.microsoft.com/office/drawing/2014/main" id="{11693B2C-4244-5EAB-90D3-FC65CBB791AE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49" r="22549"/>
          <a:stretch>
            <a:fillRect/>
          </a:stretch>
        </p:blipFill>
        <p:spPr>
          <a:xfrm>
            <a:off x="6944139" y="360044"/>
            <a:ext cx="4887813" cy="6268756"/>
          </a:xfr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565EBF9-47BB-2ACF-2B99-2D51CE54B2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endParaRPr lang="nb-NO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47644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FBA43D-A924-F66E-46F2-16795E0C1B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nb-NO">
                <a:solidFill>
                  <a:srgbClr val="000000"/>
                </a:solidFill>
              </a:rPr>
              <a:t>Det samfunnsvitenskapelige fakultet</a:t>
            </a:r>
            <a:endParaRPr lang="nb-NO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495282-D079-274C-6B40-4F1693B7E2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n-US">
                <a:solidFill>
                  <a:srgbClr val="000000"/>
                </a:solidFill>
              </a:rPr>
              <a:t>Side </a:t>
            </a:r>
            <a:fld id="{5251F420-7306-4E7C-A79E-F31A38F7D392}" type="slidenum">
              <a:rPr lang="en-US" smtClean="0">
                <a:solidFill>
                  <a:srgbClr val="000000"/>
                </a:solidFill>
              </a:rPr>
              <a:pPr>
                <a:buClr>
                  <a:srgbClr val="000000"/>
                </a:buClr>
              </a:pPr>
              <a:t>6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54C9E4-9B5F-D20D-60C7-0B219FDC1F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solidFill>
                  <a:srgbClr val="000000"/>
                </a:solidFill>
              </a:rPr>
              <a:t>Studentene</a:t>
            </a:r>
          </a:p>
        </p:txBody>
      </p:sp>
      <p:pic>
        <p:nvPicPr>
          <p:cNvPr id="13" name="Picture Placeholder 12" descr="A group of cats looking at the camera&#10;&#10;Description automatically generated with medium confidence">
            <a:extLst>
              <a:ext uri="{FF2B5EF4-FFF2-40B4-BE49-F238E27FC236}">
                <a16:creationId xmlns:a16="http://schemas.microsoft.com/office/drawing/2014/main" id="{11693B2C-4244-5EAB-90D3-FC65CBB791AE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49" r="22549"/>
          <a:stretch>
            <a:fillRect/>
          </a:stretch>
        </p:blipFill>
        <p:spPr>
          <a:xfrm>
            <a:off x="6944139" y="360044"/>
            <a:ext cx="4887813" cy="6268756"/>
          </a:xfr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565EBF9-47BB-2ACF-2B99-2D51CE54B2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511698B-0434-8698-2F56-8F46221915B9}"/>
              </a:ext>
            </a:extLst>
          </p:cNvPr>
          <p:cNvSpPr>
            <a:spLocks noGrp="1"/>
          </p:cNvSpPr>
          <p:nvPr>
            <p:ph sz="quarter" idx="3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C35CDF74-0F4D-480F-FB2A-35AAF62816CC}"/>
              </a:ext>
            </a:extLst>
          </p:cNvPr>
          <p:cNvSpPr txBox="1">
            <a:spLocks/>
          </p:cNvSpPr>
          <p:nvPr/>
        </p:nvSpPr>
        <p:spPr>
          <a:xfrm>
            <a:off x="360043" y="1251285"/>
            <a:ext cx="6338931" cy="4807318"/>
          </a:xfrm>
          <a:prstGeom prst="rect">
            <a:avLst/>
          </a:prstGeom>
          <a:solidFill>
            <a:srgbClr val="FFFFFF"/>
          </a:solidFill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vert="horz" lIns="0" tIns="0" rIns="0" bIns="0" rtlCol="0">
            <a:noAutofit/>
          </a:bodyPr>
          <a:lstStyle>
            <a:lvl1pPr marL="288000" indent="-288000" algn="l" defTabSz="914446" rtl="0" eaLnBrk="1" latinLnBrk="0" hangingPunct="1">
              <a:lnSpc>
                <a:spcPct val="100000"/>
              </a:lnSpc>
              <a:spcBef>
                <a:spcPts val="115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34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57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80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503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8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05462" indent="-342900"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Hvordan bruker de KI?</a:t>
            </a:r>
          </a:p>
          <a:p>
            <a:pPr marL="903296" lvl="1" indent="-342900">
              <a:buClr>
                <a:srgbClr val="000000"/>
              </a:buClr>
            </a:pPr>
            <a:r>
              <a:rPr lang="nb-NO" dirty="0"/>
              <a:t>Danne grunnlag for videre arbeid</a:t>
            </a:r>
          </a:p>
          <a:p>
            <a:pPr marL="903296" lvl="1" indent="-342900">
              <a:buClr>
                <a:srgbClr val="000000"/>
              </a:buClr>
            </a:pPr>
            <a:r>
              <a:rPr lang="nb-NO" dirty="0"/>
              <a:t>Inspirasjon og nye perspektiver</a:t>
            </a:r>
          </a:p>
          <a:p>
            <a:pPr marL="903296" lvl="1" indent="-342900">
              <a:buClr>
                <a:srgbClr val="000000"/>
              </a:buClr>
            </a:pPr>
            <a:r>
              <a:rPr lang="nb-NO" dirty="0"/>
              <a:t>Sammendrag</a:t>
            </a:r>
          </a:p>
          <a:p>
            <a:pPr marL="903296" lvl="1" indent="-342900">
              <a:buClr>
                <a:srgbClr val="000000"/>
              </a:buClr>
            </a:pPr>
            <a:r>
              <a:rPr lang="nb-NO" dirty="0"/>
              <a:t>Oppklare fagstoff</a:t>
            </a:r>
          </a:p>
          <a:p>
            <a:pPr marL="903296" lvl="1" indent="-342900">
              <a:buClr>
                <a:srgbClr val="000000"/>
              </a:buClr>
            </a:pPr>
            <a:r>
              <a:rPr lang="nb-NO" dirty="0"/>
              <a:t>Omformulering av egen tekst</a:t>
            </a:r>
          </a:p>
          <a:p>
            <a:pPr marL="903296" lvl="1" indent="-342900"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Søkemotor</a:t>
            </a:r>
          </a:p>
          <a:p>
            <a:pPr marL="162562" indent="0">
              <a:buClr>
                <a:srgbClr val="000000"/>
              </a:buClr>
              <a:buFont typeface="Wingdings" panose="05000000000000000000" pitchFamily="2" charset="2"/>
              <a:buNone/>
            </a:pPr>
            <a:r>
              <a:rPr lang="nb-NO" sz="1200" dirty="0">
                <a:solidFill>
                  <a:srgbClr val="000000"/>
                </a:solidFill>
                <a:latin typeface="+mj-lt"/>
              </a:rPr>
              <a:t>Kilde: Lekvold, H. og Aarstad, H. E. (2023), «Studenters bruk av Chat GPT». Studentoppgave i PSY4430 - Arbeids- og </a:t>
            </a:r>
            <a:r>
              <a:rPr lang="nb-NO" sz="1200" dirty="0" err="1">
                <a:solidFill>
                  <a:srgbClr val="000000"/>
                </a:solidFill>
                <a:latin typeface="+mj-lt"/>
              </a:rPr>
              <a:t>organisasjonspsykologisk</a:t>
            </a:r>
            <a:r>
              <a:rPr lang="nb-NO" sz="1200" dirty="0">
                <a:solidFill>
                  <a:srgbClr val="000000"/>
                </a:solidFill>
                <a:latin typeface="+mj-lt"/>
              </a:rPr>
              <a:t> prosjekt</a:t>
            </a:r>
          </a:p>
          <a:p>
            <a:pPr marL="505462" indent="-342900"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Hva er lov?</a:t>
            </a:r>
          </a:p>
          <a:p>
            <a:pPr marL="505462" indent="-342900"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Hva skal de lære?</a:t>
            </a:r>
          </a:p>
          <a:p>
            <a:pPr marL="505462" indent="-342900"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Hvordan skal de lære?</a:t>
            </a:r>
          </a:p>
          <a:p>
            <a:pPr marL="0" indent="0">
              <a:buClr>
                <a:srgbClr val="000000"/>
              </a:buClr>
              <a:buFont typeface="Wingdings" panose="05000000000000000000" pitchFamily="2" charset="2"/>
              <a:buNone/>
            </a:pPr>
            <a:endParaRPr lang="nb-NO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55731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FBA43D-A924-F66E-46F2-16795E0C1B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nb-NO">
                <a:solidFill>
                  <a:srgbClr val="000000"/>
                </a:solidFill>
              </a:rPr>
              <a:t>Det samfunnsvitenskapelige fakultet</a:t>
            </a:r>
            <a:endParaRPr lang="nb-NO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495282-D079-274C-6B40-4F1693B7E2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n-US">
                <a:solidFill>
                  <a:srgbClr val="000000"/>
                </a:solidFill>
              </a:rPr>
              <a:t>Side </a:t>
            </a:r>
            <a:fld id="{5251F420-7306-4E7C-A79E-F31A38F7D392}" type="slidenum">
              <a:rPr lang="en-US" smtClean="0">
                <a:solidFill>
                  <a:srgbClr val="000000"/>
                </a:solidFill>
              </a:rPr>
              <a:pPr>
                <a:buClr>
                  <a:srgbClr val="000000"/>
                </a:buClr>
              </a:pPr>
              <a:t>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54C9E4-9B5F-D20D-60C7-0B219FDC1F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solidFill>
                  <a:srgbClr val="000000"/>
                </a:solidFill>
              </a:rPr>
              <a:t>Studentene</a:t>
            </a:r>
          </a:p>
        </p:txBody>
      </p:sp>
      <p:pic>
        <p:nvPicPr>
          <p:cNvPr id="13" name="Picture Placeholder 12" descr="A group of cats looking at the camera&#10;&#10;Description automatically generated with medium confidence">
            <a:extLst>
              <a:ext uri="{FF2B5EF4-FFF2-40B4-BE49-F238E27FC236}">
                <a16:creationId xmlns:a16="http://schemas.microsoft.com/office/drawing/2014/main" id="{11693B2C-4244-5EAB-90D3-FC65CBB791AE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49" r="22549"/>
          <a:stretch>
            <a:fillRect/>
          </a:stretch>
        </p:blipFill>
        <p:spPr>
          <a:xfrm>
            <a:off x="6944139" y="360044"/>
            <a:ext cx="4887813" cy="6268756"/>
          </a:xfr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565EBF9-47BB-2ACF-2B99-2D51CE54B2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511698B-0434-8698-2F56-8F46221915B9}"/>
              </a:ext>
            </a:extLst>
          </p:cNvPr>
          <p:cNvSpPr>
            <a:spLocks noGrp="1"/>
          </p:cNvSpPr>
          <p:nvPr>
            <p:ph sz="quarter" idx="3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D91CF7-C572-503D-0BFC-1824026CEE8A}"/>
              </a:ext>
            </a:extLst>
          </p:cNvPr>
          <p:cNvSpPr txBox="1">
            <a:spLocks/>
          </p:cNvSpPr>
          <p:nvPr/>
        </p:nvSpPr>
        <p:spPr>
          <a:xfrm>
            <a:off x="360044" y="1251285"/>
            <a:ext cx="6550212" cy="4807318"/>
          </a:xfrm>
          <a:prstGeom prst="rect">
            <a:avLst/>
          </a:prstGeom>
          <a:solidFill>
            <a:srgbClr val="FFFFFF"/>
          </a:solidFill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vert="horz" lIns="0" tIns="0" rIns="0" bIns="0" rtlCol="0">
            <a:noAutofit/>
          </a:bodyPr>
          <a:lstStyle>
            <a:lvl1pPr marL="288000" indent="-288000" algn="l" defTabSz="914446" rtl="0" eaLnBrk="1" latinLnBrk="0" hangingPunct="1">
              <a:lnSpc>
                <a:spcPct val="100000"/>
              </a:lnSpc>
              <a:spcBef>
                <a:spcPts val="115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34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57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80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503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8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05462" indent="-342900">
              <a:buClr>
                <a:srgbClr val="000000"/>
              </a:buClr>
            </a:pPr>
            <a:r>
              <a:rPr lang="nb-NO">
                <a:solidFill>
                  <a:srgbClr val="000000"/>
                </a:solidFill>
              </a:rPr>
              <a:t>Hvordan bruker de KI?</a:t>
            </a:r>
          </a:p>
          <a:p>
            <a:pPr marL="505462" indent="-342900">
              <a:buClr>
                <a:srgbClr val="000000"/>
              </a:buClr>
            </a:pPr>
            <a:r>
              <a:rPr lang="nb-NO">
                <a:solidFill>
                  <a:srgbClr val="000000"/>
                </a:solidFill>
              </a:rPr>
              <a:t>Hva er lov?</a:t>
            </a:r>
          </a:p>
          <a:p>
            <a:pPr marL="903296" lvl="1" indent="-342900">
              <a:buClr>
                <a:srgbClr val="000000"/>
              </a:buClr>
            </a:pPr>
            <a:r>
              <a:rPr lang="nb-NO" sz="1800">
                <a:latin typeface="+mj-lt"/>
                <a:ea typeface="Times New Roman" panose="02020603050405020304" pitchFamily="18" charset="0"/>
              </a:rPr>
              <a:t>Det regnes som fusk når en:</a:t>
            </a:r>
          </a:p>
          <a:p>
            <a:pPr marL="1360519" lvl="2" indent="-342900">
              <a:buClr>
                <a:srgbClr val="000000"/>
              </a:buClr>
            </a:pPr>
            <a:r>
              <a:rPr lang="nb-NO" sz="1800">
                <a:latin typeface="+mj-lt"/>
                <a:ea typeface="Times New Roman" panose="02020603050405020304" pitchFamily="18" charset="0"/>
              </a:rPr>
              <a:t>lèt vere å gi opplysningar om kjelder eller gir opp fiktive kjelder</a:t>
            </a:r>
          </a:p>
          <a:p>
            <a:pPr marL="1360519" lvl="2" indent="-342900">
              <a:buClr>
                <a:srgbClr val="000000"/>
              </a:buClr>
            </a:pPr>
            <a:r>
              <a:rPr lang="nb-NO" sz="1800">
                <a:latin typeface="+mj-lt"/>
                <a:ea typeface="Times New Roman" panose="02020603050405020304" pitchFamily="18" charset="0"/>
              </a:rPr>
              <a:t>gir inntrykk av at eksamenssvaret er meir sjølvstendig enn det faktisk er</a:t>
            </a:r>
          </a:p>
          <a:p>
            <a:pPr marL="903296" lvl="1" indent="-342900">
              <a:buClr>
                <a:srgbClr val="000000"/>
              </a:buClr>
            </a:pPr>
            <a:r>
              <a:rPr lang="nb-NO" sz="1800">
                <a:latin typeface="+mj-lt"/>
                <a:ea typeface="Times New Roman" panose="02020603050405020304" pitchFamily="18" charset="0"/>
              </a:rPr>
              <a:t>Men hva med gråsonene?</a:t>
            </a:r>
            <a:endParaRPr lang="nb-NO" sz="2800">
              <a:solidFill>
                <a:srgbClr val="000000"/>
              </a:solidFill>
            </a:endParaRPr>
          </a:p>
          <a:p>
            <a:pPr marL="505462" indent="-342900">
              <a:buClr>
                <a:srgbClr val="000000"/>
              </a:buClr>
            </a:pPr>
            <a:r>
              <a:rPr lang="nb-NO">
                <a:solidFill>
                  <a:srgbClr val="000000"/>
                </a:solidFill>
              </a:rPr>
              <a:t>Hva skal de lære?</a:t>
            </a:r>
          </a:p>
          <a:p>
            <a:pPr marL="505462" indent="-342900">
              <a:buClr>
                <a:srgbClr val="000000"/>
              </a:buClr>
            </a:pPr>
            <a:r>
              <a:rPr lang="nb-NO">
                <a:solidFill>
                  <a:srgbClr val="000000"/>
                </a:solidFill>
              </a:rPr>
              <a:t>Hvordan skal de lære?</a:t>
            </a:r>
          </a:p>
          <a:p>
            <a:pPr marL="0" indent="0">
              <a:buClr>
                <a:srgbClr val="000000"/>
              </a:buClr>
              <a:buFont typeface="Wingdings" panose="05000000000000000000" pitchFamily="2" charset="2"/>
              <a:buNone/>
            </a:pPr>
            <a:endParaRPr lang="nb-NO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888054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FBA43D-A924-F66E-46F2-16795E0C1B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nb-NO">
                <a:solidFill>
                  <a:srgbClr val="000000"/>
                </a:solidFill>
              </a:rPr>
              <a:t>Det samfunnsvitenskapelige fakultet</a:t>
            </a:r>
            <a:endParaRPr lang="nb-NO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495282-D079-274C-6B40-4F1693B7E2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n-US">
                <a:solidFill>
                  <a:srgbClr val="000000"/>
                </a:solidFill>
              </a:rPr>
              <a:t>Side </a:t>
            </a:r>
            <a:fld id="{5251F420-7306-4E7C-A79E-F31A38F7D392}" type="slidenum">
              <a:rPr lang="en-US" smtClean="0">
                <a:solidFill>
                  <a:srgbClr val="000000"/>
                </a:solidFill>
              </a:rPr>
              <a:pPr>
                <a:buClr>
                  <a:srgbClr val="000000"/>
                </a:buClr>
              </a:pPr>
              <a:t>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54C9E4-9B5F-D20D-60C7-0B219FDC1F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solidFill>
                  <a:srgbClr val="000000"/>
                </a:solidFill>
              </a:rPr>
              <a:t>Studentene</a:t>
            </a:r>
          </a:p>
        </p:txBody>
      </p:sp>
      <p:pic>
        <p:nvPicPr>
          <p:cNvPr id="13" name="Picture Placeholder 12" descr="A group of cats looking at the camera&#10;&#10;Description automatically generated with medium confidence">
            <a:extLst>
              <a:ext uri="{FF2B5EF4-FFF2-40B4-BE49-F238E27FC236}">
                <a16:creationId xmlns:a16="http://schemas.microsoft.com/office/drawing/2014/main" id="{11693B2C-4244-5EAB-90D3-FC65CBB791AE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49" r="22549"/>
          <a:stretch>
            <a:fillRect/>
          </a:stretch>
        </p:blipFill>
        <p:spPr>
          <a:xfrm>
            <a:off x="6944139" y="360044"/>
            <a:ext cx="4887813" cy="6268756"/>
          </a:xfr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565EBF9-47BB-2ACF-2B99-2D51CE54B2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511698B-0434-8698-2F56-8F46221915B9}"/>
              </a:ext>
            </a:extLst>
          </p:cNvPr>
          <p:cNvSpPr>
            <a:spLocks noGrp="1"/>
          </p:cNvSpPr>
          <p:nvPr>
            <p:ph sz="quarter" idx="3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Content Placeholder 8">
            <a:extLst>
              <a:ext uri="{FF2B5EF4-FFF2-40B4-BE49-F238E27FC236}">
                <a16:creationId xmlns:a16="http://schemas.microsoft.com/office/drawing/2014/main" id="{9C900C93-4DE5-35D4-4123-EEB34223A550}"/>
              </a:ext>
            </a:extLst>
          </p:cNvPr>
          <p:cNvSpPr txBox="1">
            <a:spLocks/>
          </p:cNvSpPr>
          <p:nvPr/>
        </p:nvSpPr>
        <p:spPr>
          <a:xfrm>
            <a:off x="360044" y="1251285"/>
            <a:ext cx="6550211" cy="4807318"/>
          </a:xfrm>
          <a:prstGeom prst="rect">
            <a:avLst/>
          </a:prstGeom>
          <a:solidFill>
            <a:srgbClr val="FFFFFF"/>
          </a:solidFill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vert="horz" lIns="0" tIns="0" rIns="0" bIns="0" rtlCol="0">
            <a:noAutofit/>
          </a:bodyPr>
          <a:lstStyle>
            <a:lvl1pPr marL="288000" indent="-288000" algn="l" defTabSz="914446" rtl="0" eaLnBrk="1" latinLnBrk="0" hangingPunct="1">
              <a:lnSpc>
                <a:spcPct val="100000"/>
              </a:lnSpc>
              <a:spcBef>
                <a:spcPts val="115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34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57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80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503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8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05462" indent="-342900">
              <a:buClr>
                <a:srgbClr val="000000"/>
              </a:buClr>
            </a:pPr>
            <a:r>
              <a:rPr lang="nb-NO">
                <a:solidFill>
                  <a:srgbClr val="000000"/>
                </a:solidFill>
              </a:rPr>
              <a:t>Hvordan bruker de KI?</a:t>
            </a:r>
          </a:p>
          <a:p>
            <a:pPr marL="505462" indent="-342900">
              <a:buClr>
                <a:srgbClr val="000000"/>
              </a:buClr>
            </a:pPr>
            <a:r>
              <a:rPr lang="nb-NO">
                <a:solidFill>
                  <a:srgbClr val="000000"/>
                </a:solidFill>
              </a:rPr>
              <a:t>Hva er lov?</a:t>
            </a:r>
          </a:p>
          <a:p>
            <a:pPr marL="505462" indent="-342900">
              <a:buClr>
                <a:srgbClr val="000000"/>
              </a:buClr>
            </a:pPr>
            <a:r>
              <a:rPr lang="nb-NO">
                <a:solidFill>
                  <a:srgbClr val="000000"/>
                </a:solidFill>
              </a:rPr>
              <a:t>Hva skal de lære?</a:t>
            </a:r>
          </a:p>
          <a:p>
            <a:pPr marL="903296" lvl="1" indent="-342900">
              <a:buClr>
                <a:srgbClr val="000000"/>
              </a:buClr>
            </a:pPr>
            <a:r>
              <a:rPr lang="nb-NO">
                <a:solidFill>
                  <a:srgbClr val="000000"/>
                </a:solidFill>
              </a:rPr>
              <a:t>Samfunnsvitenskapelig perspektiver på kunstig intelligens</a:t>
            </a:r>
          </a:p>
          <a:p>
            <a:pPr marL="903296" lvl="1" indent="-342900">
              <a:buClr>
                <a:srgbClr val="000000"/>
              </a:buClr>
            </a:pPr>
            <a:r>
              <a:rPr lang="nb-NO">
                <a:solidFill>
                  <a:srgbClr val="000000"/>
                </a:solidFill>
              </a:rPr>
              <a:t>Et arbeidsliv der kunstig intelligens trolig vil spille en rolle</a:t>
            </a:r>
          </a:p>
          <a:p>
            <a:pPr marL="505462" indent="-342900">
              <a:buClr>
                <a:srgbClr val="000000"/>
              </a:buClr>
            </a:pPr>
            <a:r>
              <a:rPr lang="nb-NO">
                <a:solidFill>
                  <a:srgbClr val="000000"/>
                </a:solidFill>
              </a:rPr>
              <a:t>Hvordan skal de lære?</a:t>
            </a:r>
          </a:p>
          <a:p>
            <a:pPr marL="0" indent="0">
              <a:buClr>
                <a:srgbClr val="000000"/>
              </a:buClr>
              <a:buFont typeface="Wingdings" panose="05000000000000000000" pitchFamily="2" charset="2"/>
              <a:buNone/>
            </a:pPr>
            <a:endParaRPr lang="nb-NO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17172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FBA43D-A924-F66E-46F2-16795E0C1B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nb-NO">
                <a:solidFill>
                  <a:srgbClr val="000000"/>
                </a:solidFill>
              </a:rPr>
              <a:t>Det samfunnsvitenskapelige fakultet</a:t>
            </a:r>
            <a:endParaRPr lang="nb-NO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495282-D079-274C-6B40-4F1693B7E2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n-US">
                <a:solidFill>
                  <a:srgbClr val="000000"/>
                </a:solidFill>
              </a:rPr>
              <a:t>Side </a:t>
            </a:r>
            <a:fld id="{5251F420-7306-4E7C-A79E-F31A38F7D392}" type="slidenum">
              <a:rPr lang="en-US" smtClean="0">
                <a:solidFill>
                  <a:srgbClr val="000000"/>
                </a:solidFill>
              </a:rPr>
              <a:pPr>
                <a:buClr>
                  <a:srgbClr val="000000"/>
                </a:buClr>
              </a:pPr>
              <a:t>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54C9E4-9B5F-D20D-60C7-0B219FDC1F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solidFill>
                  <a:srgbClr val="000000"/>
                </a:solidFill>
              </a:rPr>
              <a:t>Studentene</a:t>
            </a:r>
          </a:p>
        </p:txBody>
      </p:sp>
      <p:pic>
        <p:nvPicPr>
          <p:cNvPr id="13" name="Picture Placeholder 12" descr="A group of cats looking at the camera&#10;&#10;Description automatically generated with medium confidence">
            <a:extLst>
              <a:ext uri="{FF2B5EF4-FFF2-40B4-BE49-F238E27FC236}">
                <a16:creationId xmlns:a16="http://schemas.microsoft.com/office/drawing/2014/main" id="{11693B2C-4244-5EAB-90D3-FC65CBB791AE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49" r="22549"/>
          <a:stretch>
            <a:fillRect/>
          </a:stretch>
        </p:blipFill>
        <p:spPr>
          <a:xfrm>
            <a:off x="6944139" y="360044"/>
            <a:ext cx="4887813" cy="6268756"/>
          </a:xfr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565EBF9-47BB-2ACF-2B99-2D51CE54B2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511698B-0434-8698-2F56-8F46221915B9}"/>
              </a:ext>
            </a:extLst>
          </p:cNvPr>
          <p:cNvSpPr>
            <a:spLocks noGrp="1"/>
          </p:cNvSpPr>
          <p:nvPr>
            <p:ph sz="quarter" idx="3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5623B959-5FE1-62E9-A7FC-78028A6463D9}"/>
              </a:ext>
            </a:extLst>
          </p:cNvPr>
          <p:cNvSpPr txBox="1">
            <a:spLocks/>
          </p:cNvSpPr>
          <p:nvPr/>
        </p:nvSpPr>
        <p:spPr>
          <a:xfrm>
            <a:off x="360044" y="1245568"/>
            <a:ext cx="6467877" cy="4807318"/>
          </a:xfrm>
          <a:prstGeom prst="rect">
            <a:avLst/>
          </a:prstGeom>
          <a:solidFill>
            <a:srgbClr val="FFFFFF"/>
          </a:solidFill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vert="horz" lIns="0" tIns="0" rIns="0" bIns="0" rtlCol="0">
            <a:noAutofit/>
          </a:bodyPr>
          <a:lstStyle>
            <a:lvl1pPr marL="288000" indent="-288000" algn="l" defTabSz="914446" rtl="0" eaLnBrk="1" latinLnBrk="0" hangingPunct="1">
              <a:lnSpc>
                <a:spcPct val="100000"/>
              </a:lnSpc>
              <a:spcBef>
                <a:spcPts val="115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34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57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80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503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8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05462" indent="-342900"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Hvordan bruker de KI?</a:t>
            </a:r>
          </a:p>
          <a:p>
            <a:pPr marL="505462" indent="-342900"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Hva er lov?</a:t>
            </a:r>
          </a:p>
          <a:p>
            <a:pPr marL="505462" indent="-342900"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Hva skal de lære?</a:t>
            </a:r>
          </a:p>
          <a:p>
            <a:pPr marL="505462" indent="-342900"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Hvordan skal de lære?</a:t>
            </a:r>
          </a:p>
          <a:p>
            <a:pPr marL="903296" lvl="1" indent="-342900"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Kunstig intelligens som læringspartner:</a:t>
            </a:r>
          </a:p>
          <a:p>
            <a:pPr marL="1360519" lvl="2" indent="-342900"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Sokratisk samtale</a:t>
            </a:r>
          </a:p>
          <a:p>
            <a:pPr marL="1360519" lvl="2" indent="-342900"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Tilbakemelding/vurdering av eget arbeid</a:t>
            </a:r>
          </a:p>
          <a:p>
            <a:pPr marL="1360519" lvl="2" indent="-342900"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Opponere på tekst skrevet av KI</a:t>
            </a:r>
          </a:p>
          <a:p>
            <a:pPr marL="1360519" lvl="2" indent="-342900"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Simuleringer</a:t>
            </a:r>
          </a:p>
          <a:p>
            <a:pPr marL="1360519" lvl="2" indent="-342900">
              <a:buClr>
                <a:srgbClr val="000000"/>
              </a:buClr>
            </a:pPr>
            <a:r>
              <a:rPr lang="nb-NO" dirty="0">
                <a:solidFill>
                  <a:srgbClr val="000000"/>
                </a:solidFill>
              </a:rPr>
              <a:t>Læringsanalyse</a:t>
            </a:r>
          </a:p>
          <a:p>
            <a:pPr marL="1360519" lvl="2" indent="-342900">
              <a:buClr>
                <a:srgbClr val="000000"/>
              </a:buClr>
            </a:pPr>
            <a:r>
              <a:rPr lang="nb-NO" dirty="0" err="1">
                <a:solidFill>
                  <a:srgbClr val="000000"/>
                </a:solidFill>
              </a:rPr>
              <a:t>Osv</a:t>
            </a:r>
            <a:r>
              <a:rPr lang="nb-NO" dirty="0">
                <a:solidFill>
                  <a:srgbClr val="000000"/>
                </a:solidFill>
              </a:rPr>
              <a:t>…</a:t>
            </a:r>
          </a:p>
          <a:p>
            <a:pPr marL="0" indent="0">
              <a:buClr>
                <a:srgbClr val="000000"/>
              </a:buClr>
              <a:buFont typeface="Wingdings" panose="05000000000000000000" pitchFamily="2" charset="2"/>
              <a:buNone/>
            </a:pPr>
            <a:endParaRPr lang="nb-NO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9998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9B9CF10-6C6A-444C-B05E-E78C1785A52C}">
  <ds:schemaRefs>
    <ds:schemaRef ds:uri="http://schemas.microsoft.com/office/2006/metadata/properties"/>
    <ds:schemaRef ds:uri="http://schemas.microsoft.com/office/infopath/2007/PartnerControls"/>
    <ds:schemaRef ds:uri="3b00a67f-9791-437e-b702-303a706ea042"/>
    <ds:schemaRef ds:uri="7dc3d6ed-56f1-49b6-b310-0ff680cfe62a"/>
    <ds:schemaRef ds:uri="e5e35b8c-bb2a-40e7-acd7-beed1d1f14b8"/>
  </ds:schemaRefs>
</ds:datastoreItem>
</file>

<file path=customXml/itemProps2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3D514616-B19B-45FB-8999-E0E2ED54B5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2479</TotalTime>
  <Words>930</Words>
  <Application>Microsoft Office PowerPoint</Application>
  <PresentationFormat>Widescreen</PresentationFormat>
  <Paragraphs>198</Paragraphs>
  <Slides>16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4" baseType="lpstr">
      <vt:lpstr>Arial</vt:lpstr>
      <vt:lpstr>Arial, sans-serif</vt:lpstr>
      <vt:lpstr>Calibri</vt:lpstr>
      <vt:lpstr>Georgia</vt:lpstr>
      <vt:lpstr>PT Sans</vt:lpstr>
      <vt:lpstr>Wingdings</vt:lpstr>
      <vt:lpstr>Office Theme</vt:lpstr>
      <vt:lpstr>think-cell Slide</vt:lpstr>
      <vt:lpstr>Samfunnsfag i møte med kunstig intelligens</vt:lpstr>
      <vt:lpstr>PowerPoint Presentation</vt:lpstr>
      <vt:lpstr>AI sjokket våren 2023</vt:lpstr>
      <vt:lpstr>Tidslinje ved SV-fakultetet </vt:lpstr>
      <vt:lpstr>Studentene</vt:lpstr>
      <vt:lpstr>Studentene</vt:lpstr>
      <vt:lpstr>Studentene</vt:lpstr>
      <vt:lpstr>Studentene</vt:lpstr>
      <vt:lpstr>Studentene</vt:lpstr>
      <vt:lpstr>De vitenskapelig ansatte</vt:lpstr>
      <vt:lpstr>De vitenskapelig ansatte</vt:lpstr>
      <vt:lpstr>De vitenskapelig ansatte</vt:lpstr>
      <vt:lpstr>De vitenskapelig ansatte</vt:lpstr>
      <vt:lpstr>Administrasjonen</vt:lpstr>
      <vt:lpstr>Universitetene og høyskolene</vt:lpstr>
      <vt:lpstr>Universitetene og høyskolen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iri Marie Aamodt</dc:creator>
  <cp:lastModifiedBy>Siri Marie Aamodt</cp:lastModifiedBy>
  <cp:revision>10</cp:revision>
  <dcterms:created xsi:type="dcterms:W3CDTF">2023-05-25T12:50:50Z</dcterms:created>
  <dcterms:modified xsi:type="dcterms:W3CDTF">2023-09-27T11:37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